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7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8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9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notesSlides/notesSlide10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761" r:id="rId1"/>
  </p:sldMasterIdLst>
  <p:notesMasterIdLst>
    <p:notesMasterId r:id="rId28"/>
  </p:notesMasterIdLst>
  <p:handoutMasterIdLst>
    <p:handoutMasterId r:id="rId29"/>
  </p:handoutMasterIdLst>
  <p:sldIdLst>
    <p:sldId id="972" r:id="rId2"/>
    <p:sldId id="943" r:id="rId3"/>
    <p:sldId id="944" r:id="rId4"/>
    <p:sldId id="945" r:id="rId5"/>
    <p:sldId id="973" r:id="rId6"/>
    <p:sldId id="946" r:id="rId7"/>
    <p:sldId id="947" r:id="rId8"/>
    <p:sldId id="948" r:id="rId9"/>
    <p:sldId id="949" r:id="rId10"/>
    <p:sldId id="950" r:id="rId11"/>
    <p:sldId id="952" r:id="rId12"/>
    <p:sldId id="953" r:id="rId13"/>
    <p:sldId id="954" r:id="rId14"/>
    <p:sldId id="955" r:id="rId15"/>
    <p:sldId id="956" r:id="rId16"/>
    <p:sldId id="957" r:id="rId17"/>
    <p:sldId id="958" r:id="rId18"/>
    <p:sldId id="959" r:id="rId19"/>
    <p:sldId id="961" r:id="rId20"/>
    <p:sldId id="963" r:id="rId21"/>
    <p:sldId id="964" r:id="rId22"/>
    <p:sldId id="965" r:id="rId23"/>
    <p:sldId id="966" r:id="rId24"/>
    <p:sldId id="969" r:id="rId25"/>
    <p:sldId id="970" r:id="rId26"/>
    <p:sldId id="971" r:id="rId27"/>
  </p:sldIdLst>
  <p:sldSz cx="12192000" cy="6858000"/>
  <p:notesSz cx="7315200" cy="96012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sse K. Vazzano" initials="jkv" lastIdx="1" clrIdx="0"/>
  <p:cmAuthor id="2" name="Suzanne Wagner" initials="SW" lastIdx="3" clrIdx="1">
    <p:extLst/>
  </p:cmAuthor>
  <p:cmAuthor id="3" name="Suzanne Wagner" initials="SW [2]" lastIdx="3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CB57F"/>
    <a:srgbClr val="394D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1689AAC-73BD-4E23-A0F7-1BB2C4C87418}" v="15" dt="2019-04-21T14:00:39.12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339" autoAdjust="0"/>
    <p:restoredTop sz="94660"/>
  </p:normalViewPr>
  <p:slideViewPr>
    <p:cSldViewPr snapToGrid="0">
      <p:cViewPr varScale="1">
        <p:scale>
          <a:sx n="98" d="100"/>
          <a:sy n="98" d="100"/>
        </p:scale>
        <p:origin x="96" y="3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8" d="100"/>
          <a:sy n="48" d="100"/>
        </p:scale>
        <p:origin x="2684" y="52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commentAuthors" Target="commentAuthors.xml"/><Relationship Id="rId35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oward Burchman" userId="c56637ff325d3032" providerId="LiveId" clId="{01689AAC-73BD-4E23-A0F7-1BB2C4C87418}"/>
    <pc:docChg chg="custSel addSld delSld modSld">
      <pc:chgData name="Howard Burchman" userId="c56637ff325d3032" providerId="LiveId" clId="{01689AAC-73BD-4E23-A0F7-1BB2C4C87418}" dt="2019-04-21T14:01:17.196" v="95" actId="313"/>
      <pc:docMkLst>
        <pc:docMk/>
      </pc:docMkLst>
      <pc:sldChg chg="modSp">
        <pc:chgData name="Howard Burchman" userId="c56637ff325d3032" providerId="LiveId" clId="{01689AAC-73BD-4E23-A0F7-1BB2C4C87418}" dt="2019-04-15T16:40:19.279" v="34" actId="20577"/>
        <pc:sldMkLst>
          <pc:docMk/>
          <pc:sldMk cId="533998565" sldId="955"/>
        </pc:sldMkLst>
        <pc:spChg chg="mod">
          <ac:chgData name="Howard Burchman" userId="c56637ff325d3032" providerId="LiveId" clId="{01689AAC-73BD-4E23-A0F7-1BB2C4C87418}" dt="2019-04-15T16:40:19.279" v="34" actId="20577"/>
          <ac:spMkLst>
            <pc:docMk/>
            <pc:sldMk cId="533998565" sldId="955"/>
            <ac:spMk id="2" creationId="{00000000-0000-0000-0000-000000000000}"/>
          </ac:spMkLst>
        </pc:spChg>
      </pc:sldChg>
      <pc:sldChg chg="modSp">
        <pc:chgData name="Howard Burchman" userId="c56637ff325d3032" providerId="LiveId" clId="{01689AAC-73BD-4E23-A0F7-1BB2C4C87418}" dt="2019-04-15T16:47:30.377" v="39" actId="20577"/>
        <pc:sldMkLst>
          <pc:docMk/>
          <pc:sldMk cId="1576301502" sldId="961"/>
        </pc:sldMkLst>
        <pc:spChg chg="mod">
          <ac:chgData name="Howard Burchman" userId="c56637ff325d3032" providerId="LiveId" clId="{01689AAC-73BD-4E23-A0F7-1BB2C4C87418}" dt="2019-04-15T16:47:30.377" v="39" actId="20577"/>
          <ac:spMkLst>
            <pc:docMk/>
            <pc:sldMk cId="1576301502" sldId="961"/>
            <ac:spMk id="3" creationId="{00000000-0000-0000-0000-000000000000}"/>
          </ac:spMkLst>
        </pc:spChg>
      </pc:sldChg>
      <pc:sldChg chg="modSp">
        <pc:chgData name="Howard Burchman" userId="c56637ff325d3032" providerId="LiveId" clId="{01689AAC-73BD-4E23-A0F7-1BB2C4C87418}" dt="2019-04-15T16:48:17.423" v="50" actId="20577"/>
        <pc:sldMkLst>
          <pc:docMk/>
          <pc:sldMk cId="4095789007" sldId="964"/>
        </pc:sldMkLst>
        <pc:graphicFrameChg chg="mod">
          <ac:chgData name="Howard Burchman" userId="c56637ff325d3032" providerId="LiveId" clId="{01689AAC-73BD-4E23-A0F7-1BB2C4C87418}" dt="2019-04-15T16:48:17.423" v="50" actId="20577"/>
          <ac:graphicFrameMkLst>
            <pc:docMk/>
            <pc:sldMk cId="4095789007" sldId="964"/>
            <ac:graphicFrameMk id="6" creationId="{00000000-0000-0000-0000-000000000000}"/>
          </ac:graphicFrameMkLst>
        </pc:graphicFrameChg>
      </pc:sldChg>
      <pc:sldChg chg="addSp delSp modSp add">
        <pc:chgData name="Howard Burchman" userId="c56637ff325d3032" providerId="LiveId" clId="{01689AAC-73BD-4E23-A0F7-1BB2C4C87418}" dt="2019-04-21T14:01:17.196" v="95" actId="313"/>
        <pc:sldMkLst>
          <pc:docMk/>
          <pc:sldMk cId="2860429421" sldId="973"/>
        </pc:sldMkLst>
        <pc:spChg chg="mod">
          <ac:chgData name="Howard Burchman" userId="c56637ff325d3032" providerId="LiveId" clId="{01689AAC-73BD-4E23-A0F7-1BB2C4C87418}" dt="2019-04-21T14:01:17.196" v="95" actId="313"/>
          <ac:spMkLst>
            <pc:docMk/>
            <pc:sldMk cId="2860429421" sldId="973"/>
            <ac:spMk id="2" creationId="{339BE38F-E6D1-4DC7-B4C7-EA0ABF467953}"/>
          </ac:spMkLst>
        </pc:spChg>
        <pc:spChg chg="del">
          <ac:chgData name="Howard Burchman" userId="c56637ff325d3032" providerId="LiveId" clId="{01689AAC-73BD-4E23-A0F7-1BB2C4C87418}" dt="2019-04-21T14:00:39.124" v="53"/>
          <ac:spMkLst>
            <pc:docMk/>
            <pc:sldMk cId="2860429421" sldId="973"/>
            <ac:spMk id="3" creationId="{5481C556-4BAC-4212-8D6A-4C29C06D711B}"/>
          </ac:spMkLst>
        </pc:spChg>
        <pc:picChg chg="add mod">
          <ac:chgData name="Howard Burchman" userId="c56637ff325d3032" providerId="LiveId" clId="{01689AAC-73BD-4E23-A0F7-1BB2C4C87418}" dt="2019-04-21T14:00:39.124" v="53"/>
          <ac:picMkLst>
            <pc:docMk/>
            <pc:sldMk cId="2860429421" sldId="973"/>
            <ac:picMk id="4" creationId="{8343B3DE-0702-404D-A023-B61B3BB41A49}"/>
          </ac:picMkLst>
        </pc:pic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eg"/><Relationship Id="rId1" Type="http://schemas.openxmlformats.org/officeDocument/2006/relationships/image" Target="../media/image8.jpeg"/><Relationship Id="rId4" Type="http://schemas.openxmlformats.org/officeDocument/2006/relationships/image" Target="../media/image11.jpeg"/></Relationships>
</file>

<file path=ppt/diagrams/_rels/data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3.jpg"/><Relationship Id="rId1" Type="http://schemas.openxmlformats.org/officeDocument/2006/relationships/image" Target="../media/image32.jpeg"/><Relationship Id="rId6" Type="http://schemas.openxmlformats.org/officeDocument/2006/relationships/image" Target="../media/image37.jpg"/><Relationship Id="rId5" Type="http://schemas.openxmlformats.org/officeDocument/2006/relationships/image" Target="../media/image36.jpg"/><Relationship Id="rId4" Type="http://schemas.openxmlformats.org/officeDocument/2006/relationships/image" Target="../media/image35.jpeg"/></Relationships>
</file>

<file path=ppt/diagrams/_rels/data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image" Target="../media/image18.wmf"/></Relationships>
</file>

<file path=ppt/diagrams/_rels/data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gif"/><Relationship Id="rId2" Type="http://schemas.openxmlformats.org/officeDocument/2006/relationships/image" Target="../media/image21.jpeg"/><Relationship Id="rId1" Type="http://schemas.openxmlformats.org/officeDocument/2006/relationships/image" Target="../media/image20.jpg"/><Relationship Id="rId4" Type="http://schemas.openxmlformats.org/officeDocument/2006/relationships/image" Target="../media/image23.jpeg"/></Relationships>
</file>

<file path=ppt/diagrams/_rels/data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5.jpeg"/><Relationship Id="rId1" Type="http://schemas.openxmlformats.org/officeDocument/2006/relationships/image" Target="../media/image24.jpeg"/><Relationship Id="rId4" Type="http://schemas.openxmlformats.org/officeDocument/2006/relationships/image" Target="../media/image27.jpeg"/></Relationships>
</file>

<file path=ppt/diagrams/_rels/data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g"/><Relationship Id="rId1" Type="http://schemas.openxmlformats.org/officeDocument/2006/relationships/image" Target="../media/image28.jpeg"/><Relationship Id="rId4" Type="http://schemas.openxmlformats.org/officeDocument/2006/relationships/image" Target="../media/image31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eg"/><Relationship Id="rId1" Type="http://schemas.openxmlformats.org/officeDocument/2006/relationships/image" Target="../media/image8.jpeg"/><Relationship Id="rId4" Type="http://schemas.openxmlformats.org/officeDocument/2006/relationships/image" Target="../media/image11.jpeg"/></Relationships>
</file>

<file path=ppt/diagrams/_rels/drawing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image" Target="../media/image33.jpg"/><Relationship Id="rId1" Type="http://schemas.openxmlformats.org/officeDocument/2006/relationships/image" Target="../media/image32.jpeg"/><Relationship Id="rId6" Type="http://schemas.openxmlformats.org/officeDocument/2006/relationships/image" Target="../media/image37.jpg"/><Relationship Id="rId5" Type="http://schemas.openxmlformats.org/officeDocument/2006/relationships/image" Target="../media/image36.jpg"/><Relationship Id="rId4" Type="http://schemas.openxmlformats.org/officeDocument/2006/relationships/image" Target="../media/image35.jpeg"/></Relationships>
</file>

<file path=ppt/diagrams/_rels/drawing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image" Target="../media/image18.wmf"/></Relationships>
</file>

<file path=ppt/diagrams/_rels/drawing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gif"/><Relationship Id="rId2" Type="http://schemas.openxmlformats.org/officeDocument/2006/relationships/image" Target="../media/image21.jpeg"/><Relationship Id="rId1" Type="http://schemas.openxmlformats.org/officeDocument/2006/relationships/image" Target="../media/image20.jpg"/><Relationship Id="rId4" Type="http://schemas.openxmlformats.org/officeDocument/2006/relationships/image" Target="../media/image23.jpeg"/></Relationships>
</file>

<file path=ppt/diagrams/_rels/drawing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5.jpeg"/><Relationship Id="rId1" Type="http://schemas.openxmlformats.org/officeDocument/2006/relationships/image" Target="../media/image24.jpeg"/><Relationship Id="rId4" Type="http://schemas.openxmlformats.org/officeDocument/2006/relationships/image" Target="../media/image27.jpeg"/></Relationships>
</file>

<file path=ppt/diagrams/_rels/drawing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g"/><Relationship Id="rId1" Type="http://schemas.openxmlformats.org/officeDocument/2006/relationships/image" Target="../media/image28.jpeg"/><Relationship Id="rId4" Type="http://schemas.openxmlformats.org/officeDocument/2006/relationships/image" Target="../media/image31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F474666-9D91-4401-8AF4-7610844FB190}" type="doc">
      <dgm:prSet loTypeId="urn:microsoft.com/office/officeart/2005/8/layout/p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82051D4-76E3-41C5-8D15-1B9398EA8968}">
      <dgm:prSet custT="1"/>
      <dgm:spPr/>
      <dgm:t>
        <a:bodyPr/>
        <a:lstStyle/>
        <a:p>
          <a:pPr rtl="0">
            <a:spcAft>
              <a:spcPts val="0"/>
            </a:spcAft>
          </a:pPr>
          <a:r>
            <a:rPr lang="en-US" sz="2000" dirty="0">
              <a:solidFill>
                <a:schemeClr val="tx1"/>
              </a:solidFill>
            </a:rPr>
            <a:t>Quick access to housing while providing needed services; includes choice</a:t>
          </a:r>
        </a:p>
      </dgm:t>
    </dgm:pt>
    <dgm:pt modelId="{5C5366F4-7821-4D82-AFF1-8055C4F7D7AD}" type="parTrans" cxnId="{8A5163F6-6D0E-44C2-BF6F-AB9E8EA8CABC}">
      <dgm:prSet/>
      <dgm:spPr/>
      <dgm:t>
        <a:bodyPr/>
        <a:lstStyle/>
        <a:p>
          <a:endParaRPr lang="en-US"/>
        </a:p>
      </dgm:t>
    </dgm:pt>
    <dgm:pt modelId="{1769B486-CBC1-492E-9B50-7F9B71CECF2B}" type="sibTrans" cxnId="{8A5163F6-6D0E-44C2-BF6F-AB9E8EA8CABC}">
      <dgm:prSet/>
      <dgm:spPr/>
      <dgm:t>
        <a:bodyPr/>
        <a:lstStyle/>
        <a:p>
          <a:endParaRPr lang="en-US"/>
        </a:p>
      </dgm:t>
    </dgm:pt>
    <dgm:pt modelId="{A168C930-BF25-464A-8DBD-C29D459DE760}">
      <dgm:prSet custT="1"/>
      <dgm:spPr/>
      <dgm:t>
        <a:bodyPr/>
        <a:lstStyle/>
        <a:p>
          <a:pPr rtl="0"/>
          <a:r>
            <a:rPr lang="en-US" sz="2000" dirty="0">
              <a:solidFill>
                <a:schemeClr val="tx1"/>
              </a:solidFill>
            </a:rPr>
            <a:t>Low barrier; high expectations.  Residency  contingent on meeting lease &amp; behavioral expectations. </a:t>
          </a:r>
        </a:p>
      </dgm:t>
    </dgm:pt>
    <dgm:pt modelId="{DEE46A46-94D4-4C9D-BB19-5DAAA53B3858}" type="parTrans" cxnId="{1A74838A-2FB8-46E8-A676-3F35208E31C7}">
      <dgm:prSet/>
      <dgm:spPr/>
      <dgm:t>
        <a:bodyPr/>
        <a:lstStyle/>
        <a:p>
          <a:endParaRPr lang="en-US"/>
        </a:p>
      </dgm:t>
    </dgm:pt>
    <dgm:pt modelId="{5C3D1AAF-1EDE-4523-8CBB-7B29D642647C}" type="sibTrans" cxnId="{1A74838A-2FB8-46E8-A676-3F35208E31C7}">
      <dgm:prSet/>
      <dgm:spPr/>
      <dgm:t>
        <a:bodyPr/>
        <a:lstStyle/>
        <a:p>
          <a:endParaRPr lang="en-US"/>
        </a:p>
      </dgm:t>
    </dgm:pt>
    <dgm:pt modelId="{85BF6056-CFD6-46D9-9832-FE7CF4D21A75}">
      <dgm:prSet custT="1"/>
      <dgm:spPr/>
      <dgm:t>
        <a:bodyPr/>
        <a:lstStyle/>
        <a:p>
          <a:pPr rtl="0"/>
          <a:r>
            <a:rPr lang="en-US" sz="2000" b="0" dirty="0">
              <a:solidFill>
                <a:schemeClr val="tx1"/>
              </a:solidFill>
            </a:rPr>
            <a:t>Staff teach tenancy skills, prevent eviction and connect to community resources</a:t>
          </a:r>
          <a:endParaRPr lang="en-US" sz="1800" b="0" dirty="0">
            <a:solidFill>
              <a:schemeClr val="tx1"/>
            </a:solidFill>
          </a:endParaRPr>
        </a:p>
      </dgm:t>
    </dgm:pt>
    <dgm:pt modelId="{388B88D1-64AC-4D84-A573-D32A198F6F29}" type="parTrans" cxnId="{81B1065D-7C7A-490A-B475-8E7EB6434A35}">
      <dgm:prSet/>
      <dgm:spPr/>
      <dgm:t>
        <a:bodyPr/>
        <a:lstStyle/>
        <a:p>
          <a:endParaRPr lang="en-US"/>
        </a:p>
      </dgm:t>
    </dgm:pt>
    <dgm:pt modelId="{F45A2AD1-74C8-4DA5-9937-5934C217BA78}" type="sibTrans" cxnId="{81B1065D-7C7A-490A-B475-8E7EB6434A35}">
      <dgm:prSet/>
      <dgm:spPr/>
      <dgm:t>
        <a:bodyPr/>
        <a:lstStyle/>
        <a:p>
          <a:endParaRPr lang="en-US"/>
        </a:p>
      </dgm:t>
    </dgm:pt>
    <dgm:pt modelId="{BC556728-F6CE-4C20-9924-E374C380A0FA}">
      <dgm:prSet custT="1"/>
      <dgm:spPr/>
      <dgm:t>
        <a:bodyPr/>
        <a:lstStyle/>
        <a:p>
          <a:pPr rtl="0"/>
          <a:r>
            <a:rPr lang="en-US" sz="2000" dirty="0">
              <a:solidFill>
                <a:schemeClr val="tx1"/>
              </a:solidFill>
            </a:rPr>
            <a:t>Staff use assertive engagement strategies</a:t>
          </a:r>
        </a:p>
      </dgm:t>
    </dgm:pt>
    <dgm:pt modelId="{94C2C1B6-5FF1-4CAE-8302-62CF1C27F451}" type="parTrans" cxnId="{5958A0C2-9922-43F0-B299-121C972C6EA0}">
      <dgm:prSet/>
      <dgm:spPr/>
      <dgm:t>
        <a:bodyPr/>
        <a:lstStyle/>
        <a:p>
          <a:endParaRPr lang="en-US"/>
        </a:p>
      </dgm:t>
    </dgm:pt>
    <dgm:pt modelId="{74F6D64D-AE6D-4AE3-B864-4E653DC930AC}" type="sibTrans" cxnId="{5958A0C2-9922-43F0-B299-121C972C6EA0}">
      <dgm:prSet/>
      <dgm:spPr/>
      <dgm:t>
        <a:bodyPr/>
        <a:lstStyle/>
        <a:p>
          <a:endParaRPr lang="en-US"/>
        </a:p>
      </dgm:t>
    </dgm:pt>
    <dgm:pt modelId="{91F1F8DF-33D8-4F92-84A4-62772F328A4D}" type="pres">
      <dgm:prSet presAssocID="{EF474666-9D91-4401-8AF4-7610844FB190}" presName="Name0" presStyleCnt="0">
        <dgm:presLayoutVars>
          <dgm:dir/>
          <dgm:resizeHandles val="exact"/>
        </dgm:presLayoutVars>
      </dgm:prSet>
      <dgm:spPr/>
    </dgm:pt>
    <dgm:pt modelId="{67E3C758-C787-44CF-A131-53D991CF7505}" type="pres">
      <dgm:prSet presAssocID="{EF474666-9D91-4401-8AF4-7610844FB190}" presName="bkgdShp" presStyleLbl="alignAccFollowNode1" presStyleIdx="0" presStyleCnt="1"/>
      <dgm:spPr/>
    </dgm:pt>
    <dgm:pt modelId="{50539CA8-D6BA-4AF5-94E7-B3A88B1F1066}" type="pres">
      <dgm:prSet presAssocID="{EF474666-9D91-4401-8AF4-7610844FB190}" presName="linComp" presStyleCnt="0"/>
      <dgm:spPr/>
    </dgm:pt>
    <dgm:pt modelId="{B8A9DA6C-778A-4199-8A36-7B9734C8516A}" type="pres">
      <dgm:prSet presAssocID="{882051D4-76E3-41C5-8D15-1B9398EA8968}" presName="compNode" presStyleCnt="0"/>
      <dgm:spPr/>
    </dgm:pt>
    <dgm:pt modelId="{84551C9A-C06F-454F-A8C3-2037F765B542}" type="pres">
      <dgm:prSet presAssocID="{882051D4-76E3-41C5-8D15-1B9398EA8968}" presName="node" presStyleLbl="node1" presStyleIdx="0" presStyleCnt="4" custScaleX="157869" custLinFactNeighborX="-3468">
        <dgm:presLayoutVars>
          <dgm:bulletEnabled val="1"/>
        </dgm:presLayoutVars>
      </dgm:prSet>
      <dgm:spPr/>
    </dgm:pt>
    <dgm:pt modelId="{B2A09542-3B48-41BB-B7E3-137610A55D74}" type="pres">
      <dgm:prSet presAssocID="{882051D4-76E3-41C5-8D15-1B9398EA8968}" presName="invisiNode" presStyleLbl="node1" presStyleIdx="0" presStyleCnt="4"/>
      <dgm:spPr/>
    </dgm:pt>
    <dgm:pt modelId="{957E4B91-4088-4E9D-B809-08ADA20F48A2}" type="pres">
      <dgm:prSet presAssocID="{882051D4-76E3-41C5-8D15-1B9398EA8968}" presName="imagNode" presStyleLbl="fgImgPlace1" presStyleIdx="0" presStyleCnt="4" custScaleX="146851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31E79604-94AC-4C8A-86C2-A5CD8FBD5D87}" type="pres">
      <dgm:prSet presAssocID="{1769B486-CBC1-492E-9B50-7F9B71CECF2B}" presName="sibTrans" presStyleLbl="sibTrans2D1" presStyleIdx="0" presStyleCnt="0"/>
      <dgm:spPr/>
    </dgm:pt>
    <dgm:pt modelId="{A5ED46D4-54AB-4311-8599-EEF6C2DE0802}" type="pres">
      <dgm:prSet presAssocID="{A168C930-BF25-464A-8DBD-C29D459DE760}" presName="compNode" presStyleCnt="0"/>
      <dgm:spPr/>
    </dgm:pt>
    <dgm:pt modelId="{5A636771-DA9D-4A99-A3BB-7889C01FFABB}" type="pres">
      <dgm:prSet presAssocID="{A168C930-BF25-464A-8DBD-C29D459DE760}" presName="node" presStyleLbl="node1" presStyleIdx="1" presStyleCnt="4" custScaleX="176289" custLinFactNeighborX="7296" custLinFactNeighborY="-1051">
        <dgm:presLayoutVars>
          <dgm:bulletEnabled val="1"/>
        </dgm:presLayoutVars>
      </dgm:prSet>
      <dgm:spPr/>
    </dgm:pt>
    <dgm:pt modelId="{F9CC2884-E4B3-4BBA-9D02-895AEBE64217}" type="pres">
      <dgm:prSet presAssocID="{A168C930-BF25-464A-8DBD-C29D459DE760}" presName="invisiNode" presStyleLbl="node1" presStyleIdx="1" presStyleCnt="4"/>
      <dgm:spPr/>
    </dgm:pt>
    <dgm:pt modelId="{25E69730-1ED6-4387-BDFF-81364F04190D}" type="pres">
      <dgm:prSet presAssocID="{A168C930-BF25-464A-8DBD-C29D459DE760}" presName="imagNode" presStyleLbl="fgImgPlace1" presStyleIdx="1" presStyleCnt="4" custScaleX="175599" custLinFactNeighborX="9286" custLinFactNeighborY="876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7000"/>
          </a:stretch>
        </a:blipFill>
      </dgm:spPr>
    </dgm:pt>
    <dgm:pt modelId="{4AF1ACB4-AD03-426A-ADFD-2277BE2677CE}" type="pres">
      <dgm:prSet presAssocID="{5C3D1AAF-1EDE-4523-8CBB-7B29D642647C}" presName="sibTrans" presStyleLbl="sibTrans2D1" presStyleIdx="0" presStyleCnt="0"/>
      <dgm:spPr/>
    </dgm:pt>
    <dgm:pt modelId="{A338C04D-6713-475C-A516-348FFF0C69F1}" type="pres">
      <dgm:prSet presAssocID="{BC556728-F6CE-4C20-9924-E374C380A0FA}" presName="compNode" presStyleCnt="0"/>
      <dgm:spPr/>
    </dgm:pt>
    <dgm:pt modelId="{2406B54C-C3A3-4560-9DBD-6AD6E06D5C2A}" type="pres">
      <dgm:prSet presAssocID="{BC556728-F6CE-4C20-9924-E374C380A0FA}" presName="node" presStyleLbl="node1" presStyleIdx="2" presStyleCnt="4" custScaleX="162212" custLinFactNeighborX="7959" custLinFactNeighborY="525">
        <dgm:presLayoutVars>
          <dgm:bulletEnabled val="1"/>
        </dgm:presLayoutVars>
      </dgm:prSet>
      <dgm:spPr/>
    </dgm:pt>
    <dgm:pt modelId="{75B0A32A-EFB0-49A8-B04C-91006CE44130}" type="pres">
      <dgm:prSet presAssocID="{BC556728-F6CE-4C20-9924-E374C380A0FA}" presName="invisiNode" presStyleLbl="node1" presStyleIdx="2" presStyleCnt="4"/>
      <dgm:spPr/>
    </dgm:pt>
    <dgm:pt modelId="{0BAD6FE2-BB0F-40A7-81B9-3C90AA899276}" type="pres">
      <dgm:prSet presAssocID="{BC556728-F6CE-4C20-9924-E374C380A0FA}" presName="imagNode" presStyleLbl="fgImgPlace1" presStyleIdx="2" presStyleCnt="4" custScaleX="156966" custLinFactNeighborX="207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</dgm:spPr>
    </dgm:pt>
    <dgm:pt modelId="{5F0CDDD6-D097-4099-BBE0-EB6B7AB4E2A3}" type="pres">
      <dgm:prSet presAssocID="{74F6D64D-AE6D-4AE3-B864-4E653DC930AC}" presName="sibTrans" presStyleLbl="sibTrans2D1" presStyleIdx="0" presStyleCnt="0"/>
      <dgm:spPr/>
    </dgm:pt>
    <dgm:pt modelId="{7A3D932A-AF5F-44DA-837A-B8C23C62A804}" type="pres">
      <dgm:prSet presAssocID="{85BF6056-CFD6-46D9-9832-FE7CF4D21A75}" presName="compNode" presStyleCnt="0"/>
      <dgm:spPr/>
    </dgm:pt>
    <dgm:pt modelId="{488BDCC6-1A08-4B19-AB46-F54BE9D1862B}" type="pres">
      <dgm:prSet presAssocID="{85BF6056-CFD6-46D9-9832-FE7CF4D21A75}" presName="node" presStyleLbl="node1" presStyleIdx="3" presStyleCnt="4" custScaleX="175726" custLinFactNeighborX="12312" custLinFactNeighborY="-1051">
        <dgm:presLayoutVars>
          <dgm:bulletEnabled val="1"/>
        </dgm:presLayoutVars>
      </dgm:prSet>
      <dgm:spPr/>
    </dgm:pt>
    <dgm:pt modelId="{4E63BBC6-4BBA-4A05-B5E8-BA7BB7B7B307}" type="pres">
      <dgm:prSet presAssocID="{85BF6056-CFD6-46D9-9832-FE7CF4D21A75}" presName="invisiNode" presStyleLbl="node1" presStyleIdx="3" presStyleCnt="4"/>
      <dgm:spPr/>
    </dgm:pt>
    <dgm:pt modelId="{97C00147-0A39-479F-B2DF-B2E37EC6041F}" type="pres">
      <dgm:prSet presAssocID="{85BF6056-CFD6-46D9-9832-FE7CF4D21A75}" presName="imagNode" presStyleLbl="fgImgPlace1" presStyleIdx="3" presStyleCnt="4" custScaleX="175524" custLinFactNeighborX="8459" custLinFactNeighborY="2933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7000"/>
          </a:stretch>
        </a:blipFill>
      </dgm:spPr>
    </dgm:pt>
  </dgm:ptLst>
  <dgm:cxnLst>
    <dgm:cxn modelId="{5656B11B-C091-41AE-A755-C65876644E40}" type="presOf" srcId="{882051D4-76E3-41C5-8D15-1B9398EA8968}" destId="{84551C9A-C06F-454F-A8C3-2037F765B542}" srcOrd="0" destOrd="0" presId="urn:microsoft.com/office/officeart/2005/8/layout/pList2"/>
    <dgm:cxn modelId="{4B73DA29-9725-46B3-B7CA-F24D7487CBD5}" type="presOf" srcId="{5C3D1AAF-1EDE-4523-8CBB-7B29D642647C}" destId="{4AF1ACB4-AD03-426A-ADFD-2277BE2677CE}" srcOrd="0" destOrd="0" presId="urn:microsoft.com/office/officeart/2005/8/layout/pList2"/>
    <dgm:cxn modelId="{81B1065D-7C7A-490A-B475-8E7EB6434A35}" srcId="{EF474666-9D91-4401-8AF4-7610844FB190}" destId="{85BF6056-CFD6-46D9-9832-FE7CF4D21A75}" srcOrd="3" destOrd="0" parTransId="{388B88D1-64AC-4D84-A573-D32A198F6F29}" sibTransId="{F45A2AD1-74C8-4DA5-9937-5934C217BA78}"/>
    <dgm:cxn modelId="{F08E9673-A118-4D2B-B499-382788EA8EE0}" type="presOf" srcId="{BC556728-F6CE-4C20-9924-E374C380A0FA}" destId="{2406B54C-C3A3-4560-9DBD-6AD6E06D5C2A}" srcOrd="0" destOrd="0" presId="urn:microsoft.com/office/officeart/2005/8/layout/pList2"/>
    <dgm:cxn modelId="{1A74838A-2FB8-46E8-A676-3F35208E31C7}" srcId="{EF474666-9D91-4401-8AF4-7610844FB190}" destId="{A168C930-BF25-464A-8DBD-C29D459DE760}" srcOrd="1" destOrd="0" parTransId="{DEE46A46-94D4-4C9D-BB19-5DAAA53B3858}" sibTransId="{5C3D1AAF-1EDE-4523-8CBB-7B29D642647C}"/>
    <dgm:cxn modelId="{7FC15E9C-DEB9-43A3-BD4D-44F3CF57DB81}" type="presOf" srcId="{1769B486-CBC1-492E-9B50-7F9B71CECF2B}" destId="{31E79604-94AC-4C8A-86C2-A5CD8FBD5D87}" srcOrd="0" destOrd="0" presId="urn:microsoft.com/office/officeart/2005/8/layout/pList2"/>
    <dgm:cxn modelId="{8C6E81A0-8935-4D4E-8890-DE9306A0FC61}" type="presOf" srcId="{A168C930-BF25-464A-8DBD-C29D459DE760}" destId="{5A636771-DA9D-4A99-A3BB-7889C01FFABB}" srcOrd="0" destOrd="0" presId="urn:microsoft.com/office/officeart/2005/8/layout/pList2"/>
    <dgm:cxn modelId="{311462A1-C8AE-4E31-ABB6-1014B4BAC0DB}" type="presOf" srcId="{EF474666-9D91-4401-8AF4-7610844FB190}" destId="{91F1F8DF-33D8-4F92-84A4-62772F328A4D}" srcOrd="0" destOrd="0" presId="urn:microsoft.com/office/officeart/2005/8/layout/pList2"/>
    <dgm:cxn modelId="{667378AA-9F19-427B-BA86-9F1A6B145223}" type="presOf" srcId="{74F6D64D-AE6D-4AE3-B864-4E653DC930AC}" destId="{5F0CDDD6-D097-4099-BBE0-EB6B7AB4E2A3}" srcOrd="0" destOrd="0" presId="urn:microsoft.com/office/officeart/2005/8/layout/pList2"/>
    <dgm:cxn modelId="{5958A0C2-9922-43F0-B299-121C972C6EA0}" srcId="{EF474666-9D91-4401-8AF4-7610844FB190}" destId="{BC556728-F6CE-4C20-9924-E374C380A0FA}" srcOrd="2" destOrd="0" parTransId="{94C2C1B6-5FF1-4CAE-8302-62CF1C27F451}" sibTransId="{74F6D64D-AE6D-4AE3-B864-4E653DC930AC}"/>
    <dgm:cxn modelId="{3B21A7ED-A02E-472E-9391-E7B5CE147EFE}" type="presOf" srcId="{85BF6056-CFD6-46D9-9832-FE7CF4D21A75}" destId="{488BDCC6-1A08-4B19-AB46-F54BE9D1862B}" srcOrd="0" destOrd="0" presId="urn:microsoft.com/office/officeart/2005/8/layout/pList2"/>
    <dgm:cxn modelId="{8A5163F6-6D0E-44C2-BF6F-AB9E8EA8CABC}" srcId="{EF474666-9D91-4401-8AF4-7610844FB190}" destId="{882051D4-76E3-41C5-8D15-1B9398EA8968}" srcOrd="0" destOrd="0" parTransId="{5C5366F4-7821-4D82-AFF1-8055C4F7D7AD}" sibTransId="{1769B486-CBC1-492E-9B50-7F9B71CECF2B}"/>
    <dgm:cxn modelId="{C6AA3CCC-372A-4E87-B7A6-CAFBE480281A}" type="presParOf" srcId="{91F1F8DF-33D8-4F92-84A4-62772F328A4D}" destId="{67E3C758-C787-44CF-A131-53D991CF7505}" srcOrd="0" destOrd="0" presId="urn:microsoft.com/office/officeart/2005/8/layout/pList2"/>
    <dgm:cxn modelId="{0D6D0F0E-2717-4472-A32C-E31831087BC5}" type="presParOf" srcId="{91F1F8DF-33D8-4F92-84A4-62772F328A4D}" destId="{50539CA8-D6BA-4AF5-94E7-B3A88B1F1066}" srcOrd="1" destOrd="0" presId="urn:microsoft.com/office/officeart/2005/8/layout/pList2"/>
    <dgm:cxn modelId="{F88A312C-EC25-42FA-9694-E2D1FE702AB0}" type="presParOf" srcId="{50539CA8-D6BA-4AF5-94E7-B3A88B1F1066}" destId="{B8A9DA6C-778A-4199-8A36-7B9734C8516A}" srcOrd="0" destOrd="0" presId="urn:microsoft.com/office/officeart/2005/8/layout/pList2"/>
    <dgm:cxn modelId="{1C9B9023-7747-4EC9-8ED8-6089F41DDFBD}" type="presParOf" srcId="{B8A9DA6C-778A-4199-8A36-7B9734C8516A}" destId="{84551C9A-C06F-454F-A8C3-2037F765B542}" srcOrd="0" destOrd="0" presId="urn:microsoft.com/office/officeart/2005/8/layout/pList2"/>
    <dgm:cxn modelId="{3B1DDD21-185E-4A0F-80ED-316E8E9174D2}" type="presParOf" srcId="{B8A9DA6C-778A-4199-8A36-7B9734C8516A}" destId="{B2A09542-3B48-41BB-B7E3-137610A55D74}" srcOrd="1" destOrd="0" presId="urn:microsoft.com/office/officeart/2005/8/layout/pList2"/>
    <dgm:cxn modelId="{F805E083-00A1-4DB1-BD8A-B53BC405FF63}" type="presParOf" srcId="{B8A9DA6C-778A-4199-8A36-7B9734C8516A}" destId="{957E4B91-4088-4E9D-B809-08ADA20F48A2}" srcOrd="2" destOrd="0" presId="urn:microsoft.com/office/officeart/2005/8/layout/pList2"/>
    <dgm:cxn modelId="{CA31450D-EFBD-4890-A5A3-344861534222}" type="presParOf" srcId="{50539CA8-D6BA-4AF5-94E7-B3A88B1F1066}" destId="{31E79604-94AC-4C8A-86C2-A5CD8FBD5D87}" srcOrd="1" destOrd="0" presId="urn:microsoft.com/office/officeart/2005/8/layout/pList2"/>
    <dgm:cxn modelId="{08A92A2D-8B08-4A20-AA13-5EAD80750B09}" type="presParOf" srcId="{50539CA8-D6BA-4AF5-94E7-B3A88B1F1066}" destId="{A5ED46D4-54AB-4311-8599-EEF6C2DE0802}" srcOrd="2" destOrd="0" presId="urn:microsoft.com/office/officeart/2005/8/layout/pList2"/>
    <dgm:cxn modelId="{E90824EB-0EAE-4B44-82B3-42E739E6A086}" type="presParOf" srcId="{A5ED46D4-54AB-4311-8599-EEF6C2DE0802}" destId="{5A636771-DA9D-4A99-A3BB-7889C01FFABB}" srcOrd="0" destOrd="0" presId="urn:microsoft.com/office/officeart/2005/8/layout/pList2"/>
    <dgm:cxn modelId="{8CB93086-A2A6-4FB1-A85E-5B99BDF5BBEE}" type="presParOf" srcId="{A5ED46D4-54AB-4311-8599-EEF6C2DE0802}" destId="{F9CC2884-E4B3-4BBA-9D02-895AEBE64217}" srcOrd="1" destOrd="0" presId="urn:microsoft.com/office/officeart/2005/8/layout/pList2"/>
    <dgm:cxn modelId="{58E65857-F4B7-45B8-8788-E1ACB0DECFBB}" type="presParOf" srcId="{A5ED46D4-54AB-4311-8599-EEF6C2DE0802}" destId="{25E69730-1ED6-4387-BDFF-81364F04190D}" srcOrd="2" destOrd="0" presId="urn:microsoft.com/office/officeart/2005/8/layout/pList2"/>
    <dgm:cxn modelId="{04825800-99DA-49C4-B9E5-C01F03061344}" type="presParOf" srcId="{50539CA8-D6BA-4AF5-94E7-B3A88B1F1066}" destId="{4AF1ACB4-AD03-426A-ADFD-2277BE2677CE}" srcOrd="3" destOrd="0" presId="urn:microsoft.com/office/officeart/2005/8/layout/pList2"/>
    <dgm:cxn modelId="{DA483825-B59B-4A46-B4E2-C69163171A87}" type="presParOf" srcId="{50539CA8-D6BA-4AF5-94E7-B3A88B1F1066}" destId="{A338C04D-6713-475C-A516-348FFF0C69F1}" srcOrd="4" destOrd="0" presId="urn:microsoft.com/office/officeart/2005/8/layout/pList2"/>
    <dgm:cxn modelId="{8CA3ECBB-D488-46F5-804F-C06EC150C114}" type="presParOf" srcId="{A338C04D-6713-475C-A516-348FFF0C69F1}" destId="{2406B54C-C3A3-4560-9DBD-6AD6E06D5C2A}" srcOrd="0" destOrd="0" presId="urn:microsoft.com/office/officeart/2005/8/layout/pList2"/>
    <dgm:cxn modelId="{40FD6C15-03DB-48E7-A1B6-6C800CFB91A0}" type="presParOf" srcId="{A338C04D-6713-475C-A516-348FFF0C69F1}" destId="{75B0A32A-EFB0-49A8-B04C-91006CE44130}" srcOrd="1" destOrd="0" presId="urn:microsoft.com/office/officeart/2005/8/layout/pList2"/>
    <dgm:cxn modelId="{2710218A-CA01-424C-8F80-7A9CFECE9215}" type="presParOf" srcId="{A338C04D-6713-475C-A516-348FFF0C69F1}" destId="{0BAD6FE2-BB0F-40A7-81B9-3C90AA899276}" srcOrd="2" destOrd="0" presId="urn:microsoft.com/office/officeart/2005/8/layout/pList2"/>
    <dgm:cxn modelId="{2C013CB4-40C8-4477-84A3-95A347A51A6D}" type="presParOf" srcId="{50539CA8-D6BA-4AF5-94E7-B3A88B1F1066}" destId="{5F0CDDD6-D097-4099-BBE0-EB6B7AB4E2A3}" srcOrd="5" destOrd="0" presId="urn:microsoft.com/office/officeart/2005/8/layout/pList2"/>
    <dgm:cxn modelId="{1D9423AA-A15C-411B-8589-B9AB0B4D4116}" type="presParOf" srcId="{50539CA8-D6BA-4AF5-94E7-B3A88B1F1066}" destId="{7A3D932A-AF5F-44DA-837A-B8C23C62A804}" srcOrd="6" destOrd="0" presId="urn:microsoft.com/office/officeart/2005/8/layout/pList2"/>
    <dgm:cxn modelId="{84142091-3C14-4804-98D0-A6A0A16DD511}" type="presParOf" srcId="{7A3D932A-AF5F-44DA-837A-B8C23C62A804}" destId="{488BDCC6-1A08-4B19-AB46-F54BE9D1862B}" srcOrd="0" destOrd="0" presId="urn:microsoft.com/office/officeart/2005/8/layout/pList2"/>
    <dgm:cxn modelId="{7507B817-AD30-444F-B75E-85A0F1934C56}" type="presParOf" srcId="{7A3D932A-AF5F-44DA-837A-B8C23C62A804}" destId="{4E63BBC6-4BBA-4A05-B5E8-BA7BB7B7B307}" srcOrd="1" destOrd="0" presId="urn:microsoft.com/office/officeart/2005/8/layout/pList2"/>
    <dgm:cxn modelId="{0E9585DB-EB26-4771-8C76-2F124167A9BC}" type="presParOf" srcId="{7A3D932A-AF5F-44DA-837A-B8C23C62A804}" destId="{97C00147-0A39-479F-B2DF-B2E37EC6041F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8F395B23-8C1E-4883-8BFC-220525EE6BE6}" type="doc">
      <dgm:prSet loTypeId="urn:microsoft.com/office/officeart/2005/8/layout/hList7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18983B2-9144-46E9-B420-5FF2C83F003D}">
      <dgm:prSet custT="1"/>
      <dgm:spPr/>
      <dgm:t>
        <a:bodyPr/>
        <a:lstStyle/>
        <a:p>
          <a:pPr rtl="0"/>
          <a:endParaRPr lang="en-US" sz="2400" dirty="0">
            <a:solidFill>
              <a:schemeClr val="tx1"/>
            </a:solidFill>
          </a:endParaRPr>
        </a:p>
        <a:p>
          <a:pPr rtl="0"/>
          <a:r>
            <a:rPr lang="en-US" sz="2400" dirty="0">
              <a:solidFill>
                <a:schemeClr val="tx1"/>
              </a:solidFill>
            </a:rPr>
            <a:t>Allow others quiet/</a:t>
          </a:r>
        </a:p>
        <a:p>
          <a:pPr rtl="0"/>
          <a:r>
            <a:rPr lang="en-US" sz="2400" dirty="0">
              <a:solidFill>
                <a:schemeClr val="tx1"/>
              </a:solidFill>
            </a:rPr>
            <a:t>peaceful </a:t>
          </a:r>
          <a:r>
            <a:rPr lang="en-US" sz="1800" dirty="0">
              <a:solidFill>
                <a:schemeClr val="tx1"/>
              </a:solidFill>
            </a:rPr>
            <a:t>enjoyment</a:t>
          </a:r>
        </a:p>
      </dgm:t>
    </dgm:pt>
    <dgm:pt modelId="{F389C5FC-7E00-46AA-BBF5-C8DBA9F64EA5}" type="parTrans" cxnId="{867DFA00-5A03-4DFF-8525-8AB077C2B5B2}">
      <dgm:prSet/>
      <dgm:spPr/>
      <dgm:t>
        <a:bodyPr/>
        <a:lstStyle/>
        <a:p>
          <a:endParaRPr lang="en-US"/>
        </a:p>
      </dgm:t>
    </dgm:pt>
    <dgm:pt modelId="{6D2E6D59-067E-4FAD-B966-7964C75BC97D}" type="sibTrans" cxnId="{867DFA00-5A03-4DFF-8525-8AB077C2B5B2}">
      <dgm:prSet/>
      <dgm:spPr/>
      <dgm:t>
        <a:bodyPr/>
        <a:lstStyle/>
        <a:p>
          <a:endParaRPr lang="en-US"/>
        </a:p>
      </dgm:t>
    </dgm:pt>
    <dgm:pt modelId="{C13952FC-B90D-45F5-B19D-8841F6060046}">
      <dgm:prSet custT="1"/>
      <dgm:spPr/>
      <dgm:t>
        <a:bodyPr/>
        <a:lstStyle/>
        <a:p>
          <a:pPr rtl="0"/>
          <a:endParaRPr lang="en-US" sz="2400" dirty="0">
            <a:solidFill>
              <a:schemeClr val="tx1"/>
            </a:solidFill>
          </a:endParaRPr>
        </a:p>
        <a:p>
          <a:pPr rtl="0"/>
          <a:r>
            <a:rPr lang="en-US" sz="2400" dirty="0">
              <a:solidFill>
                <a:schemeClr val="tx1"/>
              </a:solidFill>
            </a:rPr>
            <a:t>No criminal activity in unit, common area or grounds</a:t>
          </a:r>
        </a:p>
      </dgm:t>
    </dgm:pt>
    <dgm:pt modelId="{D06E5834-EBA9-4A05-8666-B3E5AA1BCAD0}" type="parTrans" cxnId="{F22419A3-D77F-4E12-8616-DB6A0DD399C2}">
      <dgm:prSet/>
      <dgm:spPr/>
      <dgm:t>
        <a:bodyPr/>
        <a:lstStyle/>
        <a:p>
          <a:endParaRPr lang="en-US"/>
        </a:p>
      </dgm:t>
    </dgm:pt>
    <dgm:pt modelId="{00C0FB21-4640-4411-8B84-37145CCE22A4}" type="sibTrans" cxnId="{F22419A3-D77F-4E12-8616-DB6A0DD399C2}">
      <dgm:prSet/>
      <dgm:spPr/>
      <dgm:t>
        <a:bodyPr/>
        <a:lstStyle/>
        <a:p>
          <a:endParaRPr lang="en-US"/>
        </a:p>
      </dgm:t>
    </dgm:pt>
    <dgm:pt modelId="{053B9F31-772C-48F3-9A38-194EA34564F8}">
      <dgm:prSet custT="1"/>
      <dgm:spPr/>
      <dgm:t>
        <a:bodyPr/>
        <a:lstStyle/>
        <a:p>
          <a:pPr rtl="0"/>
          <a:r>
            <a:rPr lang="en-US" sz="2400" dirty="0">
              <a:solidFill>
                <a:schemeClr val="tx1"/>
              </a:solidFill>
            </a:rPr>
            <a:t>Keep unit clean</a:t>
          </a:r>
        </a:p>
      </dgm:t>
    </dgm:pt>
    <dgm:pt modelId="{49E537B6-DAAB-4420-AEE0-7A1E7A1878E8}" type="parTrans" cxnId="{1208D225-1290-40C8-8A4C-07D21D035D08}">
      <dgm:prSet/>
      <dgm:spPr/>
      <dgm:t>
        <a:bodyPr/>
        <a:lstStyle/>
        <a:p>
          <a:endParaRPr lang="en-US"/>
        </a:p>
      </dgm:t>
    </dgm:pt>
    <dgm:pt modelId="{DBC07FF0-D99B-4B82-BEE0-48EEAD7CF19B}" type="sibTrans" cxnId="{1208D225-1290-40C8-8A4C-07D21D035D08}">
      <dgm:prSet/>
      <dgm:spPr/>
      <dgm:t>
        <a:bodyPr/>
        <a:lstStyle/>
        <a:p>
          <a:endParaRPr lang="en-US"/>
        </a:p>
      </dgm:t>
    </dgm:pt>
    <dgm:pt modelId="{5477E0A0-1ADD-4F59-9387-8458AFA28831}">
      <dgm:prSet custT="1"/>
      <dgm:spPr/>
      <dgm:t>
        <a:bodyPr/>
        <a:lstStyle/>
        <a:p>
          <a:pPr rtl="0"/>
          <a:r>
            <a:rPr lang="en-US" sz="2400" dirty="0">
              <a:solidFill>
                <a:schemeClr val="tx1"/>
              </a:solidFill>
            </a:rPr>
            <a:t>Dispose of garbage &amp; waste correctly</a:t>
          </a:r>
        </a:p>
      </dgm:t>
    </dgm:pt>
    <dgm:pt modelId="{EEC6E899-BCEE-4970-B6BE-C1D5DD1BC731}" type="parTrans" cxnId="{E2327475-BEEA-4733-8693-58A782ECA39B}">
      <dgm:prSet/>
      <dgm:spPr/>
      <dgm:t>
        <a:bodyPr/>
        <a:lstStyle/>
        <a:p>
          <a:endParaRPr lang="en-US"/>
        </a:p>
      </dgm:t>
    </dgm:pt>
    <dgm:pt modelId="{5343F220-6472-4EE8-B8C5-445175FF7173}" type="sibTrans" cxnId="{E2327475-BEEA-4733-8693-58A782ECA39B}">
      <dgm:prSet/>
      <dgm:spPr/>
      <dgm:t>
        <a:bodyPr/>
        <a:lstStyle/>
        <a:p>
          <a:endParaRPr lang="en-US"/>
        </a:p>
      </dgm:t>
    </dgm:pt>
    <dgm:pt modelId="{9241FB33-4059-4A8C-B240-FAAA4984E877}">
      <dgm:prSet custT="1"/>
      <dgm:spPr/>
      <dgm:t>
        <a:bodyPr/>
        <a:lstStyle/>
        <a:p>
          <a:pPr rtl="0"/>
          <a:endParaRPr lang="en-US" sz="2400" dirty="0">
            <a:solidFill>
              <a:schemeClr val="tx1"/>
            </a:solidFill>
          </a:endParaRPr>
        </a:p>
        <a:p>
          <a:pPr rtl="0"/>
          <a:r>
            <a:rPr lang="en-US" sz="2400" dirty="0">
              <a:solidFill>
                <a:schemeClr val="tx1"/>
              </a:solidFill>
            </a:rPr>
            <a:t>Make required rental payment to landlord on time</a:t>
          </a:r>
        </a:p>
      </dgm:t>
    </dgm:pt>
    <dgm:pt modelId="{205D52E8-1983-4A40-B6AE-FCA72100B49C}" type="parTrans" cxnId="{86E3C705-EA8F-4194-9DDE-80A53D553C7E}">
      <dgm:prSet/>
      <dgm:spPr/>
      <dgm:t>
        <a:bodyPr/>
        <a:lstStyle/>
        <a:p>
          <a:endParaRPr lang="en-US"/>
        </a:p>
      </dgm:t>
    </dgm:pt>
    <dgm:pt modelId="{8B5FBFDA-548D-4B03-9EC7-4876D21CF717}" type="sibTrans" cxnId="{86E3C705-EA8F-4194-9DDE-80A53D553C7E}">
      <dgm:prSet/>
      <dgm:spPr/>
      <dgm:t>
        <a:bodyPr/>
        <a:lstStyle/>
        <a:p>
          <a:endParaRPr lang="en-US"/>
        </a:p>
      </dgm:t>
    </dgm:pt>
    <dgm:pt modelId="{71AA83B1-145D-4287-A1BC-AF99B8C92FDC}">
      <dgm:prSet/>
      <dgm:spPr/>
      <dgm:t>
        <a:bodyPr/>
        <a:lstStyle/>
        <a:p>
          <a:pPr rtl="0"/>
          <a:r>
            <a:rPr lang="en-US" dirty="0">
              <a:solidFill>
                <a:schemeClr val="tx1"/>
              </a:solidFill>
            </a:rPr>
            <a:t>Keep utilities current and paid</a:t>
          </a:r>
        </a:p>
      </dgm:t>
    </dgm:pt>
    <dgm:pt modelId="{B7FC35BB-0E11-4715-AF96-5C767DD93523}" type="parTrans" cxnId="{D3CF8FCB-E49A-490A-8F80-C64C0E0C5130}">
      <dgm:prSet/>
      <dgm:spPr/>
      <dgm:t>
        <a:bodyPr/>
        <a:lstStyle/>
        <a:p>
          <a:endParaRPr lang="en-US"/>
        </a:p>
      </dgm:t>
    </dgm:pt>
    <dgm:pt modelId="{1EE9F9A9-414C-4D8D-8CFD-4A4D09805A72}" type="sibTrans" cxnId="{D3CF8FCB-E49A-490A-8F80-C64C0E0C5130}">
      <dgm:prSet/>
      <dgm:spPr/>
      <dgm:t>
        <a:bodyPr/>
        <a:lstStyle/>
        <a:p>
          <a:endParaRPr lang="en-US"/>
        </a:p>
      </dgm:t>
    </dgm:pt>
    <dgm:pt modelId="{C777B0F2-3A43-4C6C-919A-8FBD9E35A837}" type="pres">
      <dgm:prSet presAssocID="{8F395B23-8C1E-4883-8BFC-220525EE6BE6}" presName="Name0" presStyleCnt="0">
        <dgm:presLayoutVars>
          <dgm:dir/>
          <dgm:resizeHandles val="exact"/>
        </dgm:presLayoutVars>
      </dgm:prSet>
      <dgm:spPr/>
    </dgm:pt>
    <dgm:pt modelId="{6661BDA1-8AE6-4052-BF25-CD103991CE0F}" type="pres">
      <dgm:prSet presAssocID="{8F395B23-8C1E-4883-8BFC-220525EE6BE6}" presName="fgShape" presStyleLbl="fgShp" presStyleIdx="0" presStyleCnt="1" custLinFactNeighborX="267" custLinFactNeighborY="44672"/>
      <dgm:spPr/>
    </dgm:pt>
    <dgm:pt modelId="{B35E149F-7DE5-4DA0-8DBB-71B918B21AFE}" type="pres">
      <dgm:prSet presAssocID="{8F395B23-8C1E-4883-8BFC-220525EE6BE6}" presName="linComp" presStyleCnt="0"/>
      <dgm:spPr/>
    </dgm:pt>
    <dgm:pt modelId="{F9FBD432-1025-4D57-A4CF-C9F128947D85}" type="pres">
      <dgm:prSet presAssocID="{D18983B2-9144-46E9-B420-5FF2C83F003D}" presName="compNode" presStyleCnt="0"/>
      <dgm:spPr/>
    </dgm:pt>
    <dgm:pt modelId="{CC4006EA-055D-459E-9EDD-858D569916EC}" type="pres">
      <dgm:prSet presAssocID="{D18983B2-9144-46E9-B420-5FF2C83F003D}" presName="bkgdShape" presStyleLbl="node1" presStyleIdx="0" presStyleCnt="6"/>
      <dgm:spPr/>
    </dgm:pt>
    <dgm:pt modelId="{72A29610-445B-400B-8EB8-B3ED2038093C}" type="pres">
      <dgm:prSet presAssocID="{D18983B2-9144-46E9-B420-5FF2C83F003D}" presName="nodeTx" presStyleLbl="node1" presStyleIdx="0" presStyleCnt="6">
        <dgm:presLayoutVars>
          <dgm:bulletEnabled val="1"/>
        </dgm:presLayoutVars>
      </dgm:prSet>
      <dgm:spPr/>
    </dgm:pt>
    <dgm:pt modelId="{F4B480F6-9A76-40F9-A238-8091C359AA07}" type="pres">
      <dgm:prSet presAssocID="{D18983B2-9144-46E9-B420-5FF2C83F003D}" presName="invisiNode" presStyleLbl="node1" presStyleIdx="0" presStyleCnt="6"/>
      <dgm:spPr/>
    </dgm:pt>
    <dgm:pt modelId="{3EC53200-8354-4645-97BC-8E6E5D2F8590}" type="pres">
      <dgm:prSet presAssocID="{D18983B2-9144-46E9-B420-5FF2C83F003D}" presName="imagNode" presStyleLbl="fgImgPlace1" presStyleIdx="0" presStyleCnt="6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</dgm:spPr>
    </dgm:pt>
    <dgm:pt modelId="{5D7A1315-CC69-47C8-BCBE-B9045352AE1E}" type="pres">
      <dgm:prSet presAssocID="{6D2E6D59-067E-4FAD-B966-7964C75BC97D}" presName="sibTrans" presStyleLbl="sibTrans2D1" presStyleIdx="0" presStyleCnt="0"/>
      <dgm:spPr/>
    </dgm:pt>
    <dgm:pt modelId="{49BD17C3-B63C-4E01-BB59-9C9FE63135DB}" type="pres">
      <dgm:prSet presAssocID="{C13952FC-B90D-45F5-B19D-8841F6060046}" presName="compNode" presStyleCnt="0"/>
      <dgm:spPr/>
    </dgm:pt>
    <dgm:pt modelId="{A0E272FA-9E52-409D-882A-83C182F2C61E}" type="pres">
      <dgm:prSet presAssocID="{C13952FC-B90D-45F5-B19D-8841F6060046}" presName="bkgdShape" presStyleLbl="node1" presStyleIdx="1" presStyleCnt="6"/>
      <dgm:spPr/>
    </dgm:pt>
    <dgm:pt modelId="{7226C83C-862B-4C07-A48F-25368AE87038}" type="pres">
      <dgm:prSet presAssocID="{C13952FC-B90D-45F5-B19D-8841F6060046}" presName="nodeTx" presStyleLbl="node1" presStyleIdx="1" presStyleCnt="6">
        <dgm:presLayoutVars>
          <dgm:bulletEnabled val="1"/>
        </dgm:presLayoutVars>
      </dgm:prSet>
      <dgm:spPr/>
    </dgm:pt>
    <dgm:pt modelId="{43F59DB3-1B5A-489E-A3D4-81C31BC08D8F}" type="pres">
      <dgm:prSet presAssocID="{C13952FC-B90D-45F5-B19D-8841F6060046}" presName="invisiNode" presStyleLbl="node1" presStyleIdx="1" presStyleCnt="6"/>
      <dgm:spPr/>
    </dgm:pt>
    <dgm:pt modelId="{06C4C627-2371-4CAA-B558-EC8598DB886B}" type="pres">
      <dgm:prSet presAssocID="{C13952FC-B90D-45F5-B19D-8841F6060046}" presName="imagNode" presStyleLbl="fgImgPlace1" presStyleIdx="1" presStyleCnt="6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</dgm:spPr>
    </dgm:pt>
    <dgm:pt modelId="{022D26CA-7803-4DA7-95CC-CDDFB181C24B}" type="pres">
      <dgm:prSet presAssocID="{00C0FB21-4640-4411-8B84-37145CCE22A4}" presName="sibTrans" presStyleLbl="sibTrans2D1" presStyleIdx="0" presStyleCnt="0"/>
      <dgm:spPr/>
    </dgm:pt>
    <dgm:pt modelId="{F4D4CA90-C380-4E39-B464-848ED287FB23}" type="pres">
      <dgm:prSet presAssocID="{053B9F31-772C-48F3-9A38-194EA34564F8}" presName="compNode" presStyleCnt="0"/>
      <dgm:spPr/>
    </dgm:pt>
    <dgm:pt modelId="{8B989BE4-B7C2-41CE-A46B-83AE159B1A7D}" type="pres">
      <dgm:prSet presAssocID="{053B9F31-772C-48F3-9A38-194EA34564F8}" presName="bkgdShape" presStyleLbl="node1" presStyleIdx="2" presStyleCnt="6"/>
      <dgm:spPr/>
    </dgm:pt>
    <dgm:pt modelId="{2B8D77C9-46EB-4C34-ACD6-B9E913263BA7}" type="pres">
      <dgm:prSet presAssocID="{053B9F31-772C-48F3-9A38-194EA34564F8}" presName="nodeTx" presStyleLbl="node1" presStyleIdx="2" presStyleCnt="6">
        <dgm:presLayoutVars>
          <dgm:bulletEnabled val="1"/>
        </dgm:presLayoutVars>
      </dgm:prSet>
      <dgm:spPr/>
    </dgm:pt>
    <dgm:pt modelId="{C2929CC3-F650-4978-941A-68CCBB50A38C}" type="pres">
      <dgm:prSet presAssocID="{053B9F31-772C-48F3-9A38-194EA34564F8}" presName="invisiNode" presStyleLbl="node1" presStyleIdx="2" presStyleCnt="6"/>
      <dgm:spPr/>
    </dgm:pt>
    <dgm:pt modelId="{3C68751B-E57F-472B-A2F2-E7693F69D065}" type="pres">
      <dgm:prSet presAssocID="{053B9F31-772C-48F3-9A38-194EA34564F8}" presName="imagNode" presStyleLbl="fgImgPlace1" presStyleIdx="2" presStyleCnt="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</dgm:spPr>
    </dgm:pt>
    <dgm:pt modelId="{4E17331B-5523-4ADB-9D8B-CCCE33542B22}" type="pres">
      <dgm:prSet presAssocID="{DBC07FF0-D99B-4B82-BEE0-48EEAD7CF19B}" presName="sibTrans" presStyleLbl="sibTrans2D1" presStyleIdx="0" presStyleCnt="0"/>
      <dgm:spPr/>
    </dgm:pt>
    <dgm:pt modelId="{EDAD676A-49B0-493A-89E3-8F3CD013690E}" type="pres">
      <dgm:prSet presAssocID="{5477E0A0-1ADD-4F59-9387-8458AFA28831}" presName="compNode" presStyleCnt="0"/>
      <dgm:spPr/>
    </dgm:pt>
    <dgm:pt modelId="{AA341282-75A7-48E6-865D-E17684E26475}" type="pres">
      <dgm:prSet presAssocID="{5477E0A0-1ADD-4F59-9387-8458AFA28831}" presName="bkgdShape" presStyleLbl="node1" presStyleIdx="3" presStyleCnt="6"/>
      <dgm:spPr/>
    </dgm:pt>
    <dgm:pt modelId="{4C31C546-A97A-4CCF-854D-11D61AB6D5ED}" type="pres">
      <dgm:prSet presAssocID="{5477E0A0-1ADD-4F59-9387-8458AFA28831}" presName="nodeTx" presStyleLbl="node1" presStyleIdx="3" presStyleCnt="6">
        <dgm:presLayoutVars>
          <dgm:bulletEnabled val="1"/>
        </dgm:presLayoutVars>
      </dgm:prSet>
      <dgm:spPr/>
    </dgm:pt>
    <dgm:pt modelId="{FD10517D-6B83-44AE-B3C5-1999F07A9984}" type="pres">
      <dgm:prSet presAssocID="{5477E0A0-1ADD-4F59-9387-8458AFA28831}" presName="invisiNode" presStyleLbl="node1" presStyleIdx="3" presStyleCnt="6"/>
      <dgm:spPr/>
    </dgm:pt>
    <dgm:pt modelId="{8E745A5E-01F3-48EA-95AA-3F89A9A8FCAE}" type="pres">
      <dgm:prSet presAssocID="{5477E0A0-1ADD-4F59-9387-8458AFA28831}" presName="imagNode" presStyleLbl="fgImgPlace1" presStyleIdx="3" presStyleCnt="6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</dgm:spPr>
    </dgm:pt>
    <dgm:pt modelId="{0E8DC2E5-B6FE-463D-912F-62E07BDEEF63}" type="pres">
      <dgm:prSet presAssocID="{5343F220-6472-4EE8-B8C5-445175FF7173}" presName="sibTrans" presStyleLbl="sibTrans2D1" presStyleIdx="0" presStyleCnt="0"/>
      <dgm:spPr/>
    </dgm:pt>
    <dgm:pt modelId="{80C19DAA-CC55-490B-8982-C930E2927FA7}" type="pres">
      <dgm:prSet presAssocID="{9241FB33-4059-4A8C-B240-FAAA4984E877}" presName="compNode" presStyleCnt="0"/>
      <dgm:spPr/>
    </dgm:pt>
    <dgm:pt modelId="{A2CDAAD6-CD09-4242-ACDA-60D184E5F2F8}" type="pres">
      <dgm:prSet presAssocID="{9241FB33-4059-4A8C-B240-FAAA4984E877}" presName="bkgdShape" presStyleLbl="node1" presStyleIdx="4" presStyleCnt="6"/>
      <dgm:spPr/>
    </dgm:pt>
    <dgm:pt modelId="{8592D256-E87D-4871-BF93-2DD85A5B559D}" type="pres">
      <dgm:prSet presAssocID="{9241FB33-4059-4A8C-B240-FAAA4984E877}" presName="nodeTx" presStyleLbl="node1" presStyleIdx="4" presStyleCnt="6">
        <dgm:presLayoutVars>
          <dgm:bulletEnabled val="1"/>
        </dgm:presLayoutVars>
      </dgm:prSet>
      <dgm:spPr/>
    </dgm:pt>
    <dgm:pt modelId="{3E68D82D-A7F8-4D88-A104-722C46A3725B}" type="pres">
      <dgm:prSet presAssocID="{9241FB33-4059-4A8C-B240-FAAA4984E877}" presName="invisiNode" presStyleLbl="node1" presStyleIdx="4" presStyleCnt="6"/>
      <dgm:spPr/>
    </dgm:pt>
    <dgm:pt modelId="{0DE3951F-8EC6-4C32-BCDC-27EDCCB07963}" type="pres">
      <dgm:prSet presAssocID="{9241FB33-4059-4A8C-B240-FAAA4984E877}" presName="imagNode" presStyleLbl="fgImgPlace1" presStyleIdx="4" presStyleCnt="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8000" r="-78000"/>
          </a:stretch>
        </a:blipFill>
      </dgm:spPr>
    </dgm:pt>
    <dgm:pt modelId="{91D787DE-4365-40CE-932B-2E4B4A604F03}" type="pres">
      <dgm:prSet presAssocID="{8B5FBFDA-548D-4B03-9EC7-4876D21CF717}" presName="sibTrans" presStyleLbl="sibTrans2D1" presStyleIdx="0" presStyleCnt="0"/>
      <dgm:spPr/>
    </dgm:pt>
    <dgm:pt modelId="{19FAF4C8-E9EA-4A29-8402-A74B6CD616AE}" type="pres">
      <dgm:prSet presAssocID="{71AA83B1-145D-4287-A1BC-AF99B8C92FDC}" presName="compNode" presStyleCnt="0"/>
      <dgm:spPr/>
    </dgm:pt>
    <dgm:pt modelId="{B204AEF8-074C-4D5A-96D0-1587B4B8A397}" type="pres">
      <dgm:prSet presAssocID="{71AA83B1-145D-4287-A1BC-AF99B8C92FDC}" presName="bkgdShape" presStyleLbl="node1" presStyleIdx="5" presStyleCnt="6"/>
      <dgm:spPr/>
    </dgm:pt>
    <dgm:pt modelId="{FAD769A6-BCB2-492E-BAD5-DA058CCC215D}" type="pres">
      <dgm:prSet presAssocID="{71AA83B1-145D-4287-A1BC-AF99B8C92FDC}" presName="nodeTx" presStyleLbl="node1" presStyleIdx="5" presStyleCnt="6">
        <dgm:presLayoutVars>
          <dgm:bulletEnabled val="1"/>
        </dgm:presLayoutVars>
      </dgm:prSet>
      <dgm:spPr/>
    </dgm:pt>
    <dgm:pt modelId="{E1B92240-8F56-466B-9CD8-F1EB2A79CF20}" type="pres">
      <dgm:prSet presAssocID="{71AA83B1-145D-4287-A1BC-AF99B8C92FDC}" presName="invisiNode" presStyleLbl="node1" presStyleIdx="5" presStyleCnt="6"/>
      <dgm:spPr/>
    </dgm:pt>
    <dgm:pt modelId="{D2663736-95CF-460D-BD4A-E4574B1AD403}" type="pres">
      <dgm:prSet presAssocID="{71AA83B1-145D-4287-A1BC-AF99B8C92FDC}" presName="imagNode" presStyleLbl="fgImgPlace1" presStyleIdx="5" presStyleCnt="6"/>
      <dgm:spPr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</dgm:ptLst>
  <dgm:cxnLst>
    <dgm:cxn modelId="{867DFA00-5A03-4DFF-8525-8AB077C2B5B2}" srcId="{8F395B23-8C1E-4883-8BFC-220525EE6BE6}" destId="{D18983B2-9144-46E9-B420-5FF2C83F003D}" srcOrd="0" destOrd="0" parTransId="{F389C5FC-7E00-46AA-BBF5-C8DBA9F64EA5}" sibTransId="{6D2E6D59-067E-4FAD-B966-7964C75BC97D}"/>
    <dgm:cxn modelId="{86E3C705-EA8F-4194-9DDE-80A53D553C7E}" srcId="{8F395B23-8C1E-4883-8BFC-220525EE6BE6}" destId="{9241FB33-4059-4A8C-B240-FAAA4984E877}" srcOrd="4" destOrd="0" parTransId="{205D52E8-1983-4A40-B6AE-FCA72100B49C}" sibTransId="{8B5FBFDA-548D-4B03-9EC7-4876D21CF717}"/>
    <dgm:cxn modelId="{A73EB619-1340-48D2-8963-80D44A8CF3F6}" type="presOf" srcId="{053B9F31-772C-48F3-9A38-194EA34564F8}" destId="{2B8D77C9-46EB-4C34-ACD6-B9E913263BA7}" srcOrd="1" destOrd="0" presId="urn:microsoft.com/office/officeart/2005/8/layout/hList7"/>
    <dgm:cxn modelId="{8C94CF19-D256-443C-A6CE-9F1969540837}" type="presOf" srcId="{9241FB33-4059-4A8C-B240-FAAA4984E877}" destId="{8592D256-E87D-4871-BF93-2DD85A5B559D}" srcOrd="1" destOrd="0" presId="urn:microsoft.com/office/officeart/2005/8/layout/hList7"/>
    <dgm:cxn modelId="{AC143B1E-F85E-4CE9-BCC4-72A5309872D3}" type="presOf" srcId="{D18983B2-9144-46E9-B420-5FF2C83F003D}" destId="{72A29610-445B-400B-8EB8-B3ED2038093C}" srcOrd="1" destOrd="0" presId="urn:microsoft.com/office/officeart/2005/8/layout/hList7"/>
    <dgm:cxn modelId="{71BD7F23-5DC7-42DB-BC90-FF6D65A79904}" type="presOf" srcId="{71AA83B1-145D-4287-A1BC-AF99B8C92FDC}" destId="{B204AEF8-074C-4D5A-96D0-1587B4B8A397}" srcOrd="0" destOrd="0" presId="urn:microsoft.com/office/officeart/2005/8/layout/hList7"/>
    <dgm:cxn modelId="{1208D225-1290-40C8-8A4C-07D21D035D08}" srcId="{8F395B23-8C1E-4883-8BFC-220525EE6BE6}" destId="{053B9F31-772C-48F3-9A38-194EA34564F8}" srcOrd="2" destOrd="0" parTransId="{49E537B6-DAAB-4420-AEE0-7A1E7A1878E8}" sibTransId="{DBC07FF0-D99B-4B82-BEE0-48EEAD7CF19B}"/>
    <dgm:cxn modelId="{46603A27-CDE4-410A-987A-367B4313C72F}" type="presOf" srcId="{9241FB33-4059-4A8C-B240-FAAA4984E877}" destId="{A2CDAAD6-CD09-4242-ACDA-60D184E5F2F8}" srcOrd="0" destOrd="0" presId="urn:microsoft.com/office/officeart/2005/8/layout/hList7"/>
    <dgm:cxn modelId="{06E51E43-A83B-4401-BAA4-088DDC526EBE}" type="presOf" srcId="{71AA83B1-145D-4287-A1BC-AF99B8C92FDC}" destId="{FAD769A6-BCB2-492E-BAD5-DA058CCC215D}" srcOrd="1" destOrd="0" presId="urn:microsoft.com/office/officeart/2005/8/layout/hList7"/>
    <dgm:cxn modelId="{9AABD166-AA62-4B89-9AFD-C5BA8E6EBE9F}" type="presOf" srcId="{D18983B2-9144-46E9-B420-5FF2C83F003D}" destId="{CC4006EA-055D-459E-9EDD-858D569916EC}" srcOrd="0" destOrd="0" presId="urn:microsoft.com/office/officeart/2005/8/layout/hList7"/>
    <dgm:cxn modelId="{6672024D-CBE9-4947-A4EC-19F92FFB1550}" type="presOf" srcId="{C13952FC-B90D-45F5-B19D-8841F6060046}" destId="{A0E272FA-9E52-409D-882A-83C182F2C61E}" srcOrd="0" destOrd="0" presId="urn:microsoft.com/office/officeart/2005/8/layout/hList7"/>
    <dgm:cxn modelId="{A97FEC71-A62A-455A-A908-895D71F4FC4F}" type="presOf" srcId="{053B9F31-772C-48F3-9A38-194EA34564F8}" destId="{8B989BE4-B7C2-41CE-A46B-83AE159B1A7D}" srcOrd="0" destOrd="0" presId="urn:microsoft.com/office/officeart/2005/8/layout/hList7"/>
    <dgm:cxn modelId="{E2327475-BEEA-4733-8693-58A782ECA39B}" srcId="{8F395B23-8C1E-4883-8BFC-220525EE6BE6}" destId="{5477E0A0-1ADD-4F59-9387-8458AFA28831}" srcOrd="3" destOrd="0" parTransId="{EEC6E899-BCEE-4970-B6BE-C1D5DD1BC731}" sibTransId="{5343F220-6472-4EE8-B8C5-445175FF7173}"/>
    <dgm:cxn modelId="{F2FE4277-A49F-4D11-ACE9-3CDA23B07B73}" type="presOf" srcId="{00C0FB21-4640-4411-8B84-37145CCE22A4}" destId="{022D26CA-7803-4DA7-95CC-CDDFB181C24B}" srcOrd="0" destOrd="0" presId="urn:microsoft.com/office/officeart/2005/8/layout/hList7"/>
    <dgm:cxn modelId="{582CE57B-9EBB-4437-AA5F-5D52654C9E48}" type="presOf" srcId="{8B5FBFDA-548D-4B03-9EC7-4876D21CF717}" destId="{91D787DE-4365-40CE-932B-2E4B4A604F03}" srcOrd="0" destOrd="0" presId="urn:microsoft.com/office/officeart/2005/8/layout/hList7"/>
    <dgm:cxn modelId="{1694A67F-1C68-48A8-9925-CF70C626F649}" type="presOf" srcId="{5343F220-6472-4EE8-B8C5-445175FF7173}" destId="{0E8DC2E5-B6FE-463D-912F-62E07BDEEF63}" srcOrd="0" destOrd="0" presId="urn:microsoft.com/office/officeart/2005/8/layout/hList7"/>
    <dgm:cxn modelId="{8A356F8A-F056-4F7E-9BE3-8CC732082B6C}" type="presOf" srcId="{C13952FC-B90D-45F5-B19D-8841F6060046}" destId="{7226C83C-862B-4C07-A48F-25368AE87038}" srcOrd="1" destOrd="0" presId="urn:microsoft.com/office/officeart/2005/8/layout/hList7"/>
    <dgm:cxn modelId="{80666D96-BDCD-43CC-AC59-7A247356EA92}" type="presOf" srcId="{6D2E6D59-067E-4FAD-B966-7964C75BC97D}" destId="{5D7A1315-CC69-47C8-BCBE-B9045352AE1E}" srcOrd="0" destOrd="0" presId="urn:microsoft.com/office/officeart/2005/8/layout/hList7"/>
    <dgm:cxn modelId="{4C59AC9A-B25B-492F-9923-D86A77AB3209}" type="presOf" srcId="{5477E0A0-1ADD-4F59-9387-8458AFA28831}" destId="{AA341282-75A7-48E6-865D-E17684E26475}" srcOrd="0" destOrd="0" presId="urn:microsoft.com/office/officeart/2005/8/layout/hList7"/>
    <dgm:cxn modelId="{F22419A3-D77F-4E12-8616-DB6A0DD399C2}" srcId="{8F395B23-8C1E-4883-8BFC-220525EE6BE6}" destId="{C13952FC-B90D-45F5-B19D-8841F6060046}" srcOrd="1" destOrd="0" parTransId="{D06E5834-EBA9-4A05-8666-B3E5AA1BCAD0}" sibTransId="{00C0FB21-4640-4411-8B84-37145CCE22A4}"/>
    <dgm:cxn modelId="{3CF5B2A5-3B1F-45D1-90A7-0483B0182A8E}" type="presOf" srcId="{DBC07FF0-D99B-4B82-BEE0-48EEAD7CF19B}" destId="{4E17331B-5523-4ADB-9D8B-CCCE33542B22}" srcOrd="0" destOrd="0" presId="urn:microsoft.com/office/officeart/2005/8/layout/hList7"/>
    <dgm:cxn modelId="{ABFCCEC2-28FA-4E30-AB9D-9267B043148C}" type="presOf" srcId="{5477E0A0-1ADD-4F59-9387-8458AFA28831}" destId="{4C31C546-A97A-4CCF-854D-11D61AB6D5ED}" srcOrd="1" destOrd="0" presId="urn:microsoft.com/office/officeart/2005/8/layout/hList7"/>
    <dgm:cxn modelId="{D3CF8FCB-E49A-490A-8F80-C64C0E0C5130}" srcId="{8F395B23-8C1E-4883-8BFC-220525EE6BE6}" destId="{71AA83B1-145D-4287-A1BC-AF99B8C92FDC}" srcOrd="5" destOrd="0" parTransId="{B7FC35BB-0E11-4715-AF96-5C767DD93523}" sibTransId="{1EE9F9A9-414C-4D8D-8CFD-4A4D09805A72}"/>
    <dgm:cxn modelId="{C51CACE4-7332-4032-80D0-ABAD843A44E1}" type="presOf" srcId="{8F395B23-8C1E-4883-8BFC-220525EE6BE6}" destId="{C777B0F2-3A43-4C6C-919A-8FBD9E35A837}" srcOrd="0" destOrd="0" presId="urn:microsoft.com/office/officeart/2005/8/layout/hList7"/>
    <dgm:cxn modelId="{ABBE8882-BDE1-45CA-B750-AF561F538A09}" type="presParOf" srcId="{C777B0F2-3A43-4C6C-919A-8FBD9E35A837}" destId="{6661BDA1-8AE6-4052-BF25-CD103991CE0F}" srcOrd="0" destOrd="0" presId="urn:microsoft.com/office/officeart/2005/8/layout/hList7"/>
    <dgm:cxn modelId="{A9FC751D-5D5D-419A-94EC-D2326B8ADAD7}" type="presParOf" srcId="{C777B0F2-3A43-4C6C-919A-8FBD9E35A837}" destId="{B35E149F-7DE5-4DA0-8DBB-71B918B21AFE}" srcOrd="1" destOrd="0" presId="urn:microsoft.com/office/officeart/2005/8/layout/hList7"/>
    <dgm:cxn modelId="{6219D2D0-5A31-4439-8EDD-98D4BB3FC232}" type="presParOf" srcId="{B35E149F-7DE5-4DA0-8DBB-71B918B21AFE}" destId="{F9FBD432-1025-4D57-A4CF-C9F128947D85}" srcOrd="0" destOrd="0" presId="urn:microsoft.com/office/officeart/2005/8/layout/hList7"/>
    <dgm:cxn modelId="{98D17A0A-6006-4B80-A03F-A92126F03F76}" type="presParOf" srcId="{F9FBD432-1025-4D57-A4CF-C9F128947D85}" destId="{CC4006EA-055D-459E-9EDD-858D569916EC}" srcOrd="0" destOrd="0" presId="urn:microsoft.com/office/officeart/2005/8/layout/hList7"/>
    <dgm:cxn modelId="{FE597563-7BDB-446F-9D40-A514B2987D84}" type="presParOf" srcId="{F9FBD432-1025-4D57-A4CF-C9F128947D85}" destId="{72A29610-445B-400B-8EB8-B3ED2038093C}" srcOrd="1" destOrd="0" presId="urn:microsoft.com/office/officeart/2005/8/layout/hList7"/>
    <dgm:cxn modelId="{523AC471-ADBF-4AD2-A267-04C70C8C9E8A}" type="presParOf" srcId="{F9FBD432-1025-4D57-A4CF-C9F128947D85}" destId="{F4B480F6-9A76-40F9-A238-8091C359AA07}" srcOrd="2" destOrd="0" presId="urn:microsoft.com/office/officeart/2005/8/layout/hList7"/>
    <dgm:cxn modelId="{EB54EEFF-4F29-4905-9D62-3DF35A5F61DF}" type="presParOf" srcId="{F9FBD432-1025-4D57-A4CF-C9F128947D85}" destId="{3EC53200-8354-4645-97BC-8E6E5D2F8590}" srcOrd="3" destOrd="0" presId="urn:microsoft.com/office/officeart/2005/8/layout/hList7"/>
    <dgm:cxn modelId="{0BBD59CB-4EAB-4C0C-B39C-B59FC474B1C5}" type="presParOf" srcId="{B35E149F-7DE5-4DA0-8DBB-71B918B21AFE}" destId="{5D7A1315-CC69-47C8-BCBE-B9045352AE1E}" srcOrd="1" destOrd="0" presId="urn:microsoft.com/office/officeart/2005/8/layout/hList7"/>
    <dgm:cxn modelId="{38359136-9596-4723-A886-CD74FB32E667}" type="presParOf" srcId="{B35E149F-7DE5-4DA0-8DBB-71B918B21AFE}" destId="{49BD17C3-B63C-4E01-BB59-9C9FE63135DB}" srcOrd="2" destOrd="0" presId="urn:microsoft.com/office/officeart/2005/8/layout/hList7"/>
    <dgm:cxn modelId="{69EFF9D6-B703-431A-B0D3-DAE69FFB6A5C}" type="presParOf" srcId="{49BD17C3-B63C-4E01-BB59-9C9FE63135DB}" destId="{A0E272FA-9E52-409D-882A-83C182F2C61E}" srcOrd="0" destOrd="0" presId="urn:microsoft.com/office/officeart/2005/8/layout/hList7"/>
    <dgm:cxn modelId="{9705FC1A-68EB-41B6-B9E6-3891DF32A474}" type="presParOf" srcId="{49BD17C3-B63C-4E01-BB59-9C9FE63135DB}" destId="{7226C83C-862B-4C07-A48F-25368AE87038}" srcOrd="1" destOrd="0" presId="urn:microsoft.com/office/officeart/2005/8/layout/hList7"/>
    <dgm:cxn modelId="{67992A6C-CD9C-405A-8567-9613E0D914A1}" type="presParOf" srcId="{49BD17C3-B63C-4E01-BB59-9C9FE63135DB}" destId="{43F59DB3-1B5A-489E-A3D4-81C31BC08D8F}" srcOrd="2" destOrd="0" presId="urn:microsoft.com/office/officeart/2005/8/layout/hList7"/>
    <dgm:cxn modelId="{763B346D-ABFF-4185-B6E8-F106B5D8FEF2}" type="presParOf" srcId="{49BD17C3-B63C-4E01-BB59-9C9FE63135DB}" destId="{06C4C627-2371-4CAA-B558-EC8598DB886B}" srcOrd="3" destOrd="0" presId="urn:microsoft.com/office/officeart/2005/8/layout/hList7"/>
    <dgm:cxn modelId="{BA94C4F9-83CB-416F-81E7-2093083ADD6D}" type="presParOf" srcId="{B35E149F-7DE5-4DA0-8DBB-71B918B21AFE}" destId="{022D26CA-7803-4DA7-95CC-CDDFB181C24B}" srcOrd="3" destOrd="0" presId="urn:microsoft.com/office/officeart/2005/8/layout/hList7"/>
    <dgm:cxn modelId="{B17E005A-3CD6-4089-8ADE-298BA2D64F44}" type="presParOf" srcId="{B35E149F-7DE5-4DA0-8DBB-71B918B21AFE}" destId="{F4D4CA90-C380-4E39-B464-848ED287FB23}" srcOrd="4" destOrd="0" presId="urn:microsoft.com/office/officeart/2005/8/layout/hList7"/>
    <dgm:cxn modelId="{63547E27-9C55-4296-85B1-AC5C6B29E4FA}" type="presParOf" srcId="{F4D4CA90-C380-4E39-B464-848ED287FB23}" destId="{8B989BE4-B7C2-41CE-A46B-83AE159B1A7D}" srcOrd="0" destOrd="0" presId="urn:microsoft.com/office/officeart/2005/8/layout/hList7"/>
    <dgm:cxn modelId="{0014EBA8-5171-4F75-B78A-0B658A1A5BA6}" type="presParOf" srcId="{F4D4CA90-C380-4E39-B464-848ED287FB23}" destId="{2B8D77C9-46EB-4C34-ACD6-B9E913263BA7}" srcOrd="1" destOrd="0" presId="urn:microsoft.com/office/officeart/2005/8/layout/hList7"/>
    <dgm:cxn modelId="{3F62AEAD-836F-4D03-B932-3A48872CAE40}" type="presParOf" srcId="{F4D4CA90-C380-4E39-B464-848ED287FB23}" destId="{C2929CC3-F650-4978-941A-68CCBB50A38C}" srcOrd="2" destOrd="0" presId="urn:microsoft.com/office/officeart/2005/8/layout/hList7"/>
    <dgm:cxn modelId="{D65D9413-C229-47F1-85BD-7AC7B9CE72DF}" type="presParOf" srcId="{F4D4CA90-C380-4E39-B464-848ED287FB23}" destId="{3C68751B-E57F-472B-A2F2-E7693F69D065}" srcOrd="3" destOrd="0" presId="urn:microsoft.com/office/officeart/2005/8/layout/hList7"/>
    <dgm:cxn modelId="{AD91357A-32FD-4A72-916E-86AA6F18F0F2}" type="presParOf" srcId="{B35E149F-7DE5-4DA0-8DBB-71B918B21AFE}" destId="{4E17331B-5523-4ADB-9D8B-CCCE33542B22}" srcOrd="5" destOrd="0" presId="urn:microsoft.com/office/officeart/2005/8/layout/hList7"/>
    <dgm:cxn modelId="{8244A363-F32A-47ED-B3C7-E0222D4F2989}" type="presParOf" srcId="{B35E149F-7DE5-4DA0-8DBB-71B918B21AFE}" destId="{EDAD676A-49B0-493A-89E3-8F3CD013690E}" srcOrd="6" destOrd="0" presId="urn:microsoft.com/office/officeart/2005/8/layout/hList7"/>
    <dgm:cxn modelId="{B0BE9E97-D97D-4DDD-9623-836D80239F2E}" type="presParOf" srcId="{EDAD676A-49B0-493A-89E3-8F3CD013690E}" destId="{AA341282-75A7-48E6-865D-E17684E26475}" srcOrd="0" destOrd="0" presId="urn:microsoft.com/office/officeart/2005/8/layout/hList7"/>
    <dgm:cxn modelId="{BA137410-7371-4065-80C6-AF0AECAC3851}" type="presParOf" srcId="{EDAD676A-49B0-493A-89E3-8F3CD013690E}" destId="{4C31C546-A97A-4CCF-854D-11D61AB6D5ED}" srcOrd="1" destOrd="0" presId="urn:microsoft.com/office/officeart/2005/8/layout/hList7"/>
    <dgm:cxn modelId="{8368E62D-7EB8-41CC-BBFA-B742689F9126}" type="presParOf" srcId="{EDAD676A-49B0-493A-89E3-8F3CD013690E}" destId="{FD10517D-6B83-44AE-B3C5-1999F07A9984}" srcOrd="2" destOrd="0" presId="urn:microsoft.com/office/officeart/2005/8/layout/hList7"/>
    <dgm:cxn modelId="{3342E490-F2CA-447D-91B7-5693A70B1CD8}" type="presParOf" srcId="{EDAD676A-49B0-493A-89E3-8F3CD013690E}" destId="{8E745A5E-01F3-48EA-95AA-3F89A9A8FCAE}" srcOrd="3" destOrd="0" presId="urn:microsoft.com/office/officeart/2005/8/layout/hList7"/>
    <dgm:cxn modelId="{972A568E-2555-4C03-B475-CDE463344FF5}" type="presParOf" srcId="{B35E149F-7DE5-4DA0-8DBB-71B918B21AFE}" destId="{0E8DC2E5-B6FE-463D-912F-62E07BDEEF63}" srcOrd="7" destOrd="0" presId="urn:microsoft.com/office/officeart/2005/8/layout/hList7"/>
    <dgm:cxn modelId="{8AC99D86-4C68-428F-8F81-0683F73566EB}" type="presParOf" srcId="{B35E149F-7DE5-4DA0-8DBB-71B918B21AFE}" destId="{80C19DAA-CC55-490B-8982-C930E2927FA7}" srcOrd="8" destOrd="0" presId="urn:microsoft.com/office/officeart/2005/8/layout/hList7"/>
    <dgm:cxn modelId="{C8DE0D77-EAB0-4894-BCBE-A7E9EB9EFD39}" type="presParOf" srcId="{80C19DAA-CC55-490B-8982-C930E2927FA7}" destId="{A2CDAAD6-CD09-4242-ACDA-60D184E5F2F8}" srcOrd="0" destOrd="0" presId="urn:microsoft.com/office/officeart/2005/8/layout/hList7"/>
    <dgm:cxn modelId="{BADE7B9C-7D03-4004-A889-62E4695C74E1}" type="presParOf" srcId="{80C19DAA-CC55-490B-8982-C930E2927FA7}" destId="{8592D256-E87D-4871-BF93-2DD85A5B559D}" srcOrd="1" destOrd="0" presId="urn:microsoft.com/office/officeart/2005/8/layout/hList7"/>
    <dgm:cxn modelId="{AF35E5B0-CCE8-4827-B71D-4FB27B6C1126}" type="presParOf" srcId="{80C19DAA-CC55-490B-8982-C930E2927FA7}" destId="{3E68D82D-A7F8-4D88-A104-722C46A3725B}" srcOrd="2" destOrd="0" presId="urn:microsoft.com/office/officeart/2005/8/layout/hList7"/>
    <dgm:cxn modelId="{8C5CA105-13C6-42FC-9F33-0774CC4C3002}" type="presParOf" srcId="{80C19DAA-CC55-490B-8982-C930E2927FA7}" destId="{0DE3951F-8EC6-4C32-BCDC-27EDCCB07963}" srcOrd="3" destOrd="0" presId="urn:microsoft.com/office/officeart/2005/8/layout/hList7"/>
    <dgm:cxn modelId="{C8F68901-CB3B-4F5D-BD4D-39EEC1C548AD}" type="presParOf" srcId="{B35E149F-7DE5-4DA0-8DBB-71B918B21AFE}" destId="{91D787DE-4365-40CE-932B-2E4B4A604F03}" srcOrd="9" destOrd="0" presId="urn:microsoft.com/office/officeart/2005/8/layout/hList7"/>
    <dgm:cxn modelId="{50C936A3-1483-4FC9-ACEF-F2C9EB1BEA3E}" type="presParOf" srcId="{B35E149F-7DE5-4DA0-8DBB-71B918B21AFE}" destId="{19FAF4C8-E9EA-4A29-8402-A74B6CD616AE}" srcOrd="10" destOrd="0" presId="urn:microsoft.com/office/officeart/2005/8/layout/hList7"/>
    <dgm:cxn modelId="{EF97608C-86FC-4D8E-8EC2-8BE9188219E8}" type="presParOf" srcId="{19FAF4C8-E9EA-4A29-8402-A74B6CD616AE}" destId="{B204AEF8-074C-4D5A-96D0-1587B4B8A397}" srcOrd="0" destOrd="0" presId="urn:microsoft.com/office/officeart/2005/8/layout/hList7"/>
    <dgm:cxn modelId="{CB8EEC37-389F-49BD-A914-09298169B5F4}" type="presParOf" srcId="{19FAF4C8-E9EA-4A29-8402-A74B6CD616AE}" destId="{FAD769A6-BCB2-492E-BAD5-DA058CCC215D}" srcOrd="1" destOrd="0" presId="urn:microsoft.com/office/officeart/2005/8/layout/hList7"/>
    <dgm:cxn modelId="{F9C59864-F2C2-468B-807A-5A16315C3ABE}" type="presParOf" srcId="{19FAF4C8-E9EA-4A29-8402-A74B6CD616AE}" destId="{E1B92240-8F56-466B-9CD8-F1EB2A79CF20}" srcOrd="2" destOrd="0" presId="urn:microsoft.com/office/officeart/2005/8/layout/hList7"/>
    <dgm:cxn modelId="{E6218DB4-1DFA-4527-8B8B-3CC04B2ACCA2}" type="presParOf" srcId="{19FAF4C8-E9EA-4A29-8402-A74B6CD616AE}" destId="{D2663736-95CF-460D-BD4A-E4574B1AD403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E756627-7C67-478B-98B6-5231C864807D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E7F82FB-2938-4A12-8BD0-1DB9797B41AE}">
      <dgm:prSet custT="1"/>
      <dgm:spPr/>
      <dgm:t>
        <a:bodyPr/>
        <a:lstStyle/>
        <a:p>
          <a:pPr rtl="0"/>
          <a:r>
            <a:rPr lang="en-US" sz="2400" dirty="0">
              <a:solidFill>
                <a:schemeClr val="tx1"/>
              </a:solidFill>
            </a:rPr>
            <a:t>Assertive engagement using motivational techniques </a:t>
          </a:r>
        </a:p>
      </dgm:t>
    </dgm:pt>
    <dgm:pt modelId="{AB4EBA87-9871-48F8-B871-7FA9A4B60D5E}" type="parTrans" cxnId="{0B25DFFA-5DAB-401A-BFEF-9A324531A89B}">
      <dgm:prSet/>
      <dgm:spPr/>
      <dgm:t>
        <a:bodyPr/>
        <a:lstStyle/>
        <a:p>
          <a:endParaRPr lang="en-US"/>
        </a:p>
      </dgm:t>
    </dgm:pt>
    <dgm:pt modelId="{CB5363FB-5E82-427B-91F2-42F5C0AA6015}" type="sibTrans" cxnId="{0B25DFFA-5DAB-401A-BFEF-9A324531A89B}">
      <dgm:prSet/>
      <dgm:spPr/>
      <dgm:t>
        <a:bodyPr/>
        <a:lstStyle/>
        <a:p>
          <a:endParaRPr lang="en-US"/>
        </a:p>
      </dgm:t>
    </dgm:pt>
    <dgm:pt modelId="{875595BC-C20B-4CC5-AF54-6C477D6C4345}">
      <dgm:prSet custT="1"/>
      <dgm:spPr/>
      <dgm:t>
        <a:bodyPr/>
        <a:lstStyle/>
        <a:p>
          <a:pPr rtl="0"/>
          <a:r>
            <a:rPr lang="en-US" sz="2400" dirty="0">
              <a:solidFill>
                <a:schemeClr val="tx1"/>
              </a:solidFill>
            </a:rPr>
            <a:t>Comprehensive assessment and housing stabilization planning</a:t>
          </a:r>
        </a:p>
      </dgm:t>
    </dgm:pt>
    <dgm:pt modelId="{B4BB188C-475A-457B-9074-94923851F644}" type="parTrans" cxnId="{605BB89C-A0A6-4669-A67F-919060EAB4AC}">
      <dgm:prSet/>
      <dgm:spPr/>
      <dgm:t>
        <a:bodyPr/>
        <a:lstStyle/>
        <a:p>
          <a:endParaRPr lang="en-US"/>
        </a:p>
      </dgm:t>
    </dgm:pt>
    <dgm:pt modelId="{1E3DCD3B-E4AC-4145-8384-9AA52F63967C}" type="sibTrans" cxnId="{605BB89C-A0A6-4669-A67F-919060EAB4AC}">
      <dgm:prSet/>
      <dgm:spPr/>
      <dgm:t>
        <a:bodyPr/>
        <a:lstStyle/>
        <a:p>
          <a:endParaRPr lang="en-US"/>
        </a:p>
      </dgm:t>
    </dgm:pt>
    <dgm:pt modelId="{0B94E731-D284-48D7-A0E0-2AA6F0BC87D8}">
      <dgm:prSet custT="1"/>
      <dgm:spPr/>
      <dgm:t>
        <a:bodyPr/>
        <a:lstStyle/>
        <a:p>
          <a:pPr rtl="0"/>
          <a:r>
            <a:rPr lang="en-US" sz="2400" dirty="0">
              <a:solidFill>
                <a:schemeClr val="tx1"/>
              </a:solidFill>
            </a:rPr>
            <a:t>Person-centered and recovery oriented</a:t>
          </a:r>
        </a:p>
      </dgm:t>
    </dgm:pt>
    <dgm:pt modelId="{791D7C44-72AD-4591-8FC3-F82BFC183FF1}" type="parTrans" cxnId="{3DCD5952-79CF-40DC-B582-894748B370EB}">
      <dgm:prSet/>
      <dgm:spPr/>
      <dgm:t>
        <a:bodyPr/>
        <a:lstStyle/>
        <a:p>
          <a:endParaRPr lang="en-US"/>
        </a:p>
      </dgm:t>
    </dgm:pt>
    <dgm:pt modelId="{326DD516-CABD-49D7-A257-DD5CD8BA0E6D}" type="sibTrans" cxnId="{3DCD5952-79CF-40DC-B582-894748B370EB}">
      <dgm:prSet/>
      <dgm:spPr/>
      <dgm:t>
        <a:bodyPr/>
        <a:lstStyle/>
        <a:p>
          <a:endParaRPr lang="en-US"/>
        </a:p>
      </dgm:t>
    </dgm:pt>
    <dgm:pt modelId="{D4A070CC-71DC-4FC1-A89E-D7033FDE586A}">
      <dgm:prSet custT="1"/>
      <dgm:spPr/>
      <dgm:t>
        <a:bodyPr/>
        <a:lstStyle/>
        <a:p>
          <a:pPr rtl="0"/>
          <a:r>
            <a:rPr lang="en-US" sz="2400" dirty="0">
              <a:solidFill>
                <a:schemeClr val="tx1"/>
              </a:solidFill>
            </a:rPr>
            <a:t>Based in the community and in the home</a:t>
          </a:r>
        </a:p>
      </dgm:t>
    </dgm:pt>
    <dgm:pt modelId="{877774B1-30C3-4BE6-9336-24240E1CEABF}" type="parTrans" cxnId="{3AE6444D-9937-488A-A961-3BED2FCB198A}">
      <dgm:prSet/>
      <dgm:spPr/>
      <dgm:t>
        <a:bodyPr/>
        <a:lstStyle/>
        <a:p>
          <a:endParaRPr lang="en-US"/>
        </a:p>
      </dgm:t>
    </dgm:pt>
    <dgm:pt modelId="{D48ECDD7-6EBF-45F5-8A8C-D049EA2B7BFF}" type="sibTrans" cxnId="{3AE6444D-9937-488A-A961-3BED2FCB198A}">
      <dgm:prSet/>
      <dgm:spPr/>
      <dgm:t>
        <a:bodyPr/>
        <a:lstStyle/>
        <a:p>
          <a:endParaRPr lang="en-US"/>
        </a:p>
      </dgm:t>
    </dgm:pt>
    <dgm:pt modelId="{75D0659F-EF83-48BC-9D70-3F6FD3790C3D}">
      <dgm:prSet custT="1"/>
      <dgm:spPr/>
      <dgm:t>
        <a:bodyPr/>
        <a:lstStyle/>
        <a:p>
          <a:pPr rtl="0"/>
          <a:r>
            <a:rPr lang="en-US" sz="2400" dirty="0">
              <a:solidFill>
                <a:schemeClr val="tx1"/>
              </a:solidFill>
            </a:rPr>
            <a:t>Links to Community Supports: social, spiritual, libraries, sports, arts, recreation</a:t>
          </a:r>
          <a:endParaRPr lang="en-US" sz="2400" u="sng" dirty="0">
            <a:solidFill>
              <a:schemeClr val="tx1"/>
            </a:solidFill>
          </a:endParaRPr>
        </a:p>
      </dgm:t>
    </dgm:pt>
    <dgm:pt modelId="{DE009CE0-C998-4998-A35E-D73AD04F6499}" type="parTrans" cxnId="{4A65E4AD-9D75-4F55-BBA2-93C35185E8C1}">
      <dgm:prSet/>
      <dgm:spPr/>
      <dgm:t>
        <a:bodyPr/>
        <a:lstStyle/>
        <a:p>
          <a:endParaRPr lang="en-US"/>
        </a:p>
      </dgm:t>
    </dgm:pt>
    <dgm:pt modelId="{E7312ED0-C242-4CB5-962B-AAEC1DCB6CD8}" type="sibTrans" cxnId="{4A65E4AD-9D75-4F55-BBA2-93C35185E8C1}">
      <dgm:prSet/>
      <dgm:spPr/>
      <dgm:t>
        <a:bodyPr/>
        <a:lstStyle/>
        <a:p>
          <a:endParaRPr lang="en-US"/>
        </a:p>
      </dgm:t>
    </dgm:pt>
    <dgm:pt modelId="{A580CEC5-B159-4A41-9EE3-B91A2250A94F}" type="pres">
      <dgm:prSet presAssocID="{DE756627-7C67-478B-98B6-5231C864807D}" presName="vert0" presStyleCnt="0">
        <dgm:presLayoutVars>
          <dgm:dir/>
          <dgm:animOne val="branch"/>
          <dgm:animLvl val="lvl"/>
        </dgm:presLayoutVars>
      </dgm:prSet>
      <dgm:spPr/>
    </dgm:pt>
    <dgm:pt modelId="{D92B2830-70C1-40B2-B8A9-C7659A6919AB}" type="pres">
      <dgm:prSet presAssocID="{1E7F82FB-2938-4A12-8BD0-1DB9797B41AE}" presName="thickLine" presStyleLbl="alignNode1" presStyleIdx="0" presStyleCnt="5"/>
      <dgm:spPr/>
    </dgm:pt>
    <dgm:pt modelId="{6A813E84-D7D3-460A-8BDF-E5BD14DC4EF9}" type="pres">
      <dgm:prSet presAssocID="{1E7F82FB-2938-4A12-8BD0-1DB9797B41AE}" presName="horz1" presStyleCnt="0"/>
      <dgm:spPr/>
    </dgm:pt>
    <dgm:pt modelId="{5E8FF66E-836B-4B17-944D-72039DB2AE02}" type="pres">
      <dgm:prSet presAssocID="{1E7F82FB-2938-4A12-8BD0-1DB9797B41AE}" presName="tx1" presStyleLbl="revTx" presStyleIdx="0" presStyleCnt="5"/>
      <dgm:spPr/>
    </dgm:pt>
    <dgm:pt modelId="{6B63C71E-B266-4A1D-BD3D-31248E93B545}" type="pres">
      <dgm:prSet presAssocID="{1E7F82FB-2938-4A12-8BD0-1DB9797B41AE}" presName="vert1" presStyleCnt="0"/>
      <dgm:spPr/>
    </dgm:pt>
    <dgm:pt modelId="{2DF3CEA0-DF5C-402C-A465-AA65F5650436}" type="pres">
      <dgm:prSet presAssocID="{875595BC-C20B-4CC5-AF54-6C477D6C4345}" presName="thickLine" presStyleLbl="alignNode1" presStyleIdx="1" presStyleCnt="5"/>
      <dgm:spPr/>
    </dgm:pt>
    <dgm:pt modelId="{C83142D1-54F0-4977-A5A7-428D36683D1B}" type="pres">
      <dgm:prSet presAssocID="{875595BC-C20B-4CC5-AF54-6C477D6C4345}" presName="horz1" presStyleCnt="0"/>
      <dgm:spPr/>
    </dgm:pt>
    <dgm:pt modelId="{099F27DB-A2EB-4674-9C53-059AD96E6666}" type="pres">
      <dgm:prSet presAssocID="{875595BC-C20B-4CC5-AF54-6C477D6C4345}" presName="tx1" presStyleLbl="revTx" presStyleIdx="1" presStyleCnt="5"/>
      <dgm:spPr/>
    </dgm:pt>
    <dgm:pt modelId="{FB00893A-E0A6-40E7-AD4B-C7E696F2F1E9}" type="pres">
      <dgm:prSet presAssocID="{875595BC-C20B-4CC5-AF54-6C477D6C4345}" presName="vert1" presStyleCnt="0"/>
      <dgm:spPr/>
    </dgm:pt>
    <dgm:pt modelId="{DDF900B1-F89C-4DF3-A706-61B1B08A5755}" type="pres">
      <dgm:prSet presAssocID="{0B94E731-D284-48D7-A0E0-2AA6F0BC87D8}" presName="thickLine" presStyleLbl="alignNode1" presStyleIdx="2" presStyleCnt="5"/>
      <dgm:spPr/>
    </dgm:pt>
    <dgm:pt modelId="{5CF2D4CD-9890-48A0-8631-1F5C58DF1C37}" type="pres">
      <dgm:prSet presAssocID="{0B94E731-D284-48D7-A0E0-2AA6F0BC87D8}" presName="horz1" presStyleCnt="0"/>
      <dgm:spPr/>
    </dgm:pt>
    <dgm:pt modelId="{FADFF1DE-E389-4659-8804-0B7E62EF09DF}" type="pres">
      <dgm:prSet presAssocID="{0B94E731-D284-48D7-A0E0-2AA6F0BC87D8}" presName="tx1" presStyleLbl="revTx" presStyleIdx="2" presStyleCnt="5"/>
      <dgm:spPr/>
    </dgm:pt>
    <dgm:pt modelId="{4F41409C-3B0E-44D2-BB39-3B32F1710988}" type="pres">
      <dgm:prSet presAssocID="{0B94E731-D284-48D7-A0E0-2AA6F0BC87D8}" presName="vert1" presStyleCnt="0"/>
      <dgm:spPr/>
    </dgm:pt>
    <dgm:pt modelId="{C55B8455-1C85-4453-ACEB-9CAB78A474AD}" type="pres">
      <dgm:prSet presAssocID="{D4A070CC-71DC-4FC1-A89E-D7033FDE586A}" presName="thickLine" presStyleLbl="alignNode1" presStyleIdx="3" presStyleCnt="5"/>
      <dgm:spPr/>
    </dgm:pt>
    <dgm:pt modelId="{02D7FF18-31DE-4BBF-9627-D425B8DAC079}" type="pres">
      <dgm:prSet presAssocID="{D4A070CC-71DC-4FC1-A89E-D7033FDE586A}" presName="horz1" presStyleCnt="0"/>
      <dgm:spPr/>
    </dgm:pt>
    <dgm:pt modelId="{EAD1D633-7CB0-4C92-AB0C-DB52D5C5A355}" type="pres">
      <dgm:prSet presAssocID="{D4A070CC-71DC-4FC1-A89E-D7033FDE586A}" presName="tx1" presStyleLbl="revTx" presStyleIdx="3" presStyleCnt="5"/>
      <dgm:spPr/>
    </dgm:pt>
    <dgm:pt modelId="{9BCB5828-1434-4900-99CE-B9AA0F4B275B}" type="pres">
      <dgm:prSet presAssocID="{D4A070CC-71DC-4FC1-A89E-D7033FDE586A}" presName="vert1" presStyleCnt="0"/>
      <dgm:spPr/>
    </dgm:pt>
    <dgm:pt modelId="{244248A3-6BBE-49AD-AD66-7292BA01B10A}" type="pres">
      <dgm:prSet presAssocID="{75D0659F-EF83-48BC-9D70-3F6FD3790C3D}" presName="thickLine" presStyleLbl="alignNode1" presStyleIdx="4" presStyleCnt="5"/>
      <dgm:spPr/>
    </dgm:pt>
    <dgm:pt modelId="{6AD6A465-0842-40E5-A83D-F44A769A5D07}" type="pres">
      <dgm:prSet presAssocID="{75D0659F-EF83-48BC-9D70-3F6FD3790C3D}" presName="horz1" presStyleCnt="0"/>
      <dgm:spPr/>
    </dgm:pt>
    <dgm:pt modelId="{B76A08E0-F4AA-451F-A930-8DE2A365728E}" type="pres">
      <dgm:prSet presAssocID="{75D0659F-EF83-48BC-9D70-3F6FD3790C3D}" presName="tx1" presStyleLbl="revTx" presStyleIdx="4" presStyleCnt="5" custScaleY="139262"/>
      <dgm:spPr/>
    </dgm:pt>
    <dgm:pt modelId="{1E9513D1-27ED-4B18-87A9-F54F73428E7B}" type="pres">
      <dgm:prSet presAssocID="{75D0659F-EF83-48BC-9D70-3F6FD3790C3D}" presName="vert1" presStyleCnt="0"/>
      <dgm:spPr/>
    </dgm:pt>
  </dgm:ptLst>
  <dgm:cxnLst>
    <dgm:cxn modelId="{E02F211E-2118-4FE3-984F-917E296D0BCA}" type="presOf" srcId="{DE756627-7C67-478B-98B6-5231C864807D}" destId="{A580CEC5-B159-4A41-9EE3-B91A2250A94F}" srcOrd="0" destOrd="0" presId="urn:microsoft.com/office/officeart/2008/layout/LinedList"/>
    <dgm:cxn modelId="{59159B6C-5BBB-48B0-BED0-EBA69D76FB68}" type="presOf" srcId="{1E7F82FB-2938-4A12-8BD0-1DB9797B41AE}" destId="{5E8FF66E-836B-4B17-944D-72039DB2AE02}" srcOrd="0" destOrd="0" presId="urn:microsoft.com/office/officeart/2008/layout/LinedList"/>
    <dgm:cxn modelId="{3AE6444D-9937-488A-A961-3BED2FCB198A}" srcId="{DE756627-7C67-478B-98B6-5231C864807D}" destId="{D4A070CC-71DC-4FC1-A89E-D7033FDE586A}" srcOrd="3" destOrd="0" parTransId="{877774B1-30C3-4BE6-9336-24240E1CEABF}" sibTransId="{D48ECDD7-6EBF-45F5-8A8C-D049EA2B7BFF}"/>
    <dgm:cxn modelId="{3DCD5952-79CF-40DC-B582-894748B370EB}" srcId="{DE756627-7C67-478B-98B6-5231C864807D}" destId="{0B94E731-D284-48D7-A0E0-2AA6F0BC87D8}" srcOrd="2" destOrd="0" parTransId="{791D7C44-72AD-4591-8FC3-F82BFC183FF1}" sibTransId="{326DD516-CABD-49D7-A257-DD5CD8BA0E6D}"/>
    <dgm:cxn modelId="{BF8B8977-20B4-48B1-B485-5795314D137A}" type="presOf" srcId="{0B94E731-D284-48D7-A0E0-2AA6F0BC87D8}" destId="{FADFF1DE-E389-4659-8804-0B7E62EF09DF}" srcOrd="0" destOrd="0" presId="urn:microsoft.com/office/officeart/2008/layout/LinedList"/>
    <dgm:cxn modelId="{6B7DF58D-5DC6-4F5C-9E47-EAE170AB44DA}" type="presOf" srcId="{D4A070CC-71DC-4FC1-A89E-D7033FDE586A}" destId="{EAD1D633-7CB0-4C92-AB0C-DB52D5C5A355}" srcOrd="0" destOrd="0" presId="urn:microsoft.com/office/officeart/2008/layout/LinedList"/>
    <dgm:cxn modelId="{605BB89C-A0A6-4669-A67F-919060EAB4AC}" srcId="{DE756627-7C67-478B-98B6-5231C864807D}" destId="{875595BC-C20B-4CC5-AF54-6C477D6C4345}" srcOrd="1" destOrd="0" parTransId="{B4BB188C-475A-457B-9074-94923851F644}" sibTransId="{1E3DCD3B-E4AC-4145-8384-9AA52F63967C}"/>
    <dgm:cxn modelId="{5CAFA09D-4C77-406E-8C48-1A63721E02FB}" type="presOf" srcId="{875595BC-C20B-4CC5-AF54-6C477D6C4345}" destId="{099F27DB-A2EB-4674-9C53-059AD96E6666}" srcOrd="0" destOrd="0" presId="urn:microsoft.com/office/officeart/2008/layout/LinedList"/>
    <dgm:cxn modelId="{4A65E4AD-9D75-4F55-BBA2-93C35185E8C1}" srcId="{DE756627-7C67-478B-98B6-5231C864807D}" destId="{75D0659F-EF83-48BC-9D70-3F6FD3790C3D}" srcOrd="4" destOrd="0" parTransId="{DE009CE0-C998-4998-A35E-D73AD04F6499}" sibTransId="{E7312ED0-C242-4CB5-962B-AAEC1DCB6CD8}"/>
    <dgm:cxn modelId="{E78B75D7-78B2-4FB1-A0B0-8742018E3CE3}" type="presOf" srcId="{75D0659F-EF83-48BC-9D70-3F6FD3790C3D}" destId="{B76A08E0-F4AA-451F-A930-8DE2A365728E}" srcOrd="0" destOrd="0" presId="urn:microsoft.com/office/officeart/2008/layout/LinedList"/>
    <dgm:cxn modelId="{0B25DFFA-5DAB-401A-BFEF-9A324531A89B}" srcId="{DE756627-7C67-478B-98B6-5231C864807D}" destId="{1E7F82FB-2938-4A12-8BD0-1DB9797B41AE}" srcOrd="0" destOrd="0" parTransId="{AB4EBA87-9871-48F8-B871-7FA9A4B60D5E}" sibTransId="{CB5363FB-5E82-427B-91F2-42F5C0AA6015}"/>
    <dgm:cxn modelId="{E5F1D1F7-90F2-4FA8-8614-AAE0B2ACB53D}" type="presParOf" srcId="{A580CEC5-B159-4A41-9EE3-B91A2250A94F}" destId="{D92B2830-70C1-40B2-B8A9-C7659A6919AB}" srcOrd="0" destOrd="0" presId="urn:microsoft.com/office/officeart/2008/layout/LinedList"/>
    <dgm:cxn modelId="{B44BF807-6F03-4600-B498-AB925C08A29F}" type="presParOf" srcId="{A580CEC5-B159-4A41-9EE3-B91A2250A94F}" destId="{6A813E84-D7D3-460A-8BDF-E5BD14DC4EF9}" srcOrd="1" destOrd="0" presId="urn:microsoft.com/office/officeart/2008/layout/LinedList"/>
    <dgm:cxn modelId="{866614F1-0C52-4544-A3BE-D0935140A5E9}" type="presParOf" srcId="{6A813E84-D7D3-460A-8BDF-E5BD14DC4EF9}" destId="{5E8FF66E-836B-4B17-944D-72039DB2AE02}" srcOrd="0" destOrd="0" presId="urn:microsoft.com/office/officeart/2008/layout/LinedList"/>
    <dgm:cxn modelId="{F9779F9A-0429-4EF7-8F19-67EBC9CAA4CE}" type="presParOf" srcId="{6A813E84-D7D3-460A-8BDF-E5BD14DC4EF9}" destId="{6B63C71E-B266-4A1D-BD3D-31248E93B545}" srcOrd="1" destOrd="0" presId="urn:microsoft.com/office/officeart/2008/layout/LinedList"/>
    <dgm:cxn modelId="{F4AFA6F0-586D-4825-9283-56CEFCCAA75E}" type="presParOf" srcId="{A580CEC5-B159-4A41-9EE3-B91A2250A94F}" destId="{2DF3CEA0-DF5C-402C-A465-AA65F5650436}" srcOrd="2" destOrd="0" presId="urn:microsoft.com/office/officeart/2008/layout/LinedList"/>
    <dgm:cxn modelId="{0A852805-EE7F-4BF2-B828-145030D66656}" type="presParOf" srcId="{A580CEC5-B159-4A41-9EE3-B91A2250A94F}" destId="{C83142D1-54F0-4977-A5A7-428D36683D1B}" srcOrd="3" destOrd="0" presId="urn:microsoft.com/office/officeart/2008/layout/LinedList"/>
    <dgm:cxn modelId="{320B02FA-2DB6-444A-BBA5-584F973A0FF5}" type="presParOf" srcId="{C83142D1-54F0-4977-A5A7-428D36683D1B}" destId="{099F27DB-A2EB-4674-9C53-059AD96E6666}" srcOrd="0" destOrd="0" presId="urn:microsoft.com/office/officeart/2008/layout/LinedList"/>
    <dgm:cxn modelId="{F8157837-DF43-47E3-BBAB-07B19CED0923}" type="presParOf" srcId="{C83142D1-54F0-4977-A5A7-428D36683D1B}" destId="{FB00893A-E0A6-40E7-AD4B-C7E696F2F1E9}" srcOrd="1" destOrd="0" presId="urn:microsoft.com/office/officeart/2008/layout/LinedList"/>
    <dgm:cxn modelId="{DC5A5601-5BBF-42BC-B438-8B40944C42B0}" type="presParOf" srcId="{A580CEC5-B159-4A41-9EE3-B91A2250A94F}" destId="{DDF900B1-F89C-4DF3-A706-61B1B08A5755}" srcOrd="4" destOrd="0" presId="urn:microsoft.com/office/officeart/2008/layout/LinedList"/>
    <dgm:cxn modelId="{D75F754F-8B41-418E-80B7-FA0DA8602F2B}" type="presParOf" srcId="{A580CEC5-B159-4A41-9EE3-B91A2250A94F}" destId="{5CF2D4CD-9890-48A0-8631-1F5C58DF1C37}" srcOrd="5" destOrd="0" presId="urn:microsoft.com/office/officeart/2008/layout/LinedList"/>
    <dgm:cxn modelId="{F4F493E9-F3F4-4995-BC5D-0BC3CF5DE95A}" type="presParOf" srcId="{5CF2D4CD-9890-48A0-8631-1F5C58DF1C37}" destId="{FADFF1DE-E389-4659-8804-0B7E62EF09DF}" srcOrd="0" destOrd="0" presId="urn:microsoft.com/office/officeart/2008/layout/LinedList"/>
    <dgm:cxn modelId="{9DD7401B-F180-4DD6-9004-4C5BB65F2E0F}" type="presParOf" srcId="{5CF2D4CD-9890-48A0-8631-1F5C58DF1C37}" destId="{4F41409C-3B0E-44D2-BB39-3B32F1710988}" srcOrd="1" destOrd="0" presId="urn:microsoft.com/office/officeart/2008/layout/LinedList"/>
    <dgm:cxn modelId="{3A0FCB75-6159-4EC5-8F6C-575536269933}" type="presParOf" srcId="{A580CEC5-B159-4A41-9EE3-B91A2250A94F}" destId="{C55B8455-1C85-4453-ACEB-9CAB78A474AD}" srcOrd="6" destOrd="0" presId="urn:microsoft.com/office/officeart/2008/layout/LinedList"/>
    <dgm:cxn modelId="{73D642D5-387B-4063-B753-CA65CC102AC9}" type="presParOf" srcId="{A580CEC5-B159-4A41-9EE3-B91A2250A94F}" destId="{02D7FF18-31DE-4BBF-9627-D425B8DAC079}" srcOrd="7" destOrd="0" presId="urn:microsoft.com/office/officeart/2008/layout/LinedList"/>
    <dgm:cxn modelId="{11D1E681-4E44-403B-80DE-560977EF968F}" type="presParOf" srcId="{02D7FF18-31DE-4BBF-9627-D425B8DAC079}" destId="{EAD1D633-7CB0-4C92-AB0C-DB52D5C5A355}" srcOrd="0" destOrd="0" presId="urn:microsoft.com/office/officeart/2008/layout/LinedList"/>
    <dgm:cxn modelId="{2D1D845E-92DF-4DB8-8FDE-AE9CB092F627}" type="presParOf" srcId="{02D7FF18-31DE-4BBF-9627-D425B8DAC079}" destId="{9BCB5828-1434-4900-99CE-B9AA0F4B275B}" srcOrd="1" destOrd="0" presId="urn:microsoft.com/office/officeart/2008/layout/LinedList"/>
    <dgm:cxn modelId="{D84F67D1-4122-43D3-A9BD-9B1DAFA12387}" type="presParOf" srcId="{A580CEC5-B159-4A41-9EE3-B91A2250A94F}" destId="{244248A3-6BBE-49AD-AD66-7292BA01B10A}" srcOrd="8" destOrd="0" presId="urn:microsoft.com/office/officeart/2008/layout/LinedList"/>
    <dgm:cxn modelId="{256AD601-F34E-4E47-9DDE-C22871599209}" type="presParOf" srcId="{A580CEC5-B159-4A41-9EE3-B91A2250A94F}" destId="{6AD6A465-0842-40E5-A83D-F44A769A5D07}" srcOrd="9" destOrd="0" presId="urn:microsoft.com/office/officeart/2008/layout/LinedList"/>
    <dgm:cxn modelId="{FFA41B66-AECF-41D6-9496-894701806451}" type="presParOf" srcId="{6AD6A465-0842-40E5-A83D-F44A769A5D07}" destId="{B76A08E0-F4AA-451F-A930-8DE2A365728E}" srcOrd="0" destOrd="0" presId="urn:microsoft.com/office/officeart/2008/layout/LinedList"/>
    <dgm:cxn modelId="{B344ADF4-87C2-46B3-9A0D-7293AC7D4B57}" type="presParOf" srcId="{6AD6A465-0842-40E5-A83D-F44A769A5D07}" destId="{1E9513D1-27ED-4B18-87A9-F54F73428E7B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ECC07CA-75F3-4612-B8EE-25F103586E2A}" type="doc">
      <dgm:prSet loTypeId="urn:microsoft.com/office/officeart/2005/8/layout/targe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F70E26E-D33F-4C9D-8672-8D7213C64989}">
      <dgm:prSet phldrT="[Text]" custT="1"/>
      <dgm:spPr/>
      <dgm:t>
        <a:bodyPr/>
        <a:lstStyle/>
        <a:p>
          <a:pPr algn="ctr"/>
          <a:r>
            <a:rPr lang="en-US" sz="2200" dirty="0"/>
            <a:t>Quick access and low barrier on entry</a:t>
          </a:r>
        </a:p>
      </dgm:t>
    </dgm:pt>
    <dgm:pt modelId="{51C71B90-73B9-49B8-AB01-39FB8DD7B80D}" type="parTrans" cxnId="{1186A46B-10D6-4D52-9993-500AF0862685}">
      <dgm:prSet/>
      <dgm:spPr/>
      <dgm:t>
        <a:bodyPr/>
        <a:lstStyle/>
        <a:p>
          <a:endParaRPr lang="en-US"/>
        </a:p>
      </dgm:t>
    </dgm:pt>
    <dgm:pt modelId="{81764F29-2133-4461-9C3B-F3A5566D0E4C}" type="sibTrans" cxnId="{1186A46B-10D6-4D52-9993-500AF0862685}">
      <dgm:prSet/>
      <dgm:spPr/>
      <dgm:t>
        <a:bodyPr/>
        <a:lstStyle/>
        <a:p>
          <a:endParaRPr lang="en-US"/>
        </a:p>
      </dgm:t>
    </dgm:pt>
    <dgm:pt modelId="{1474C680-4B49-4EB3-BAB4-776118FD04E7}">
      <dgm:prSet custT="1"/>
      <dgm:spPr/>
      <dgm:t>
        <a:bodyPr/>
        <a:lstStyle/>
        <a:p>
          <a:r>
            <a:rPr lang="en-US" sz="2200" dirty="0"/>
            <a:t>Separation of housing and support services functions</a:t>
          </a:r>
        </a:p>
      </dgm:t>
    </dgm:pt>
    <dgm:pt modelId="{F3E38132-AF24-4F80-9C38-31079130C676}" type="parTrans" cxnId="{ADA9733F-C0D4-434F-AD84-16DBED9A0EF7}">
      <dgm:prSet/>
      <dgm:spPr/>
      <dgm:t>
        <a:bodyPr/>
        <a:lstStyle/>
        <a:p>
          <a:endParaRPr lang="en-US"/>
        </a:p>
      </dgm:t>
    </dgm:pt>
    <dgm:pt modelId="{68221702-C3DC-4790-90CD-4178BF2D9829}" type="sibTrans" cxnId="{ADA9733F-C0D4-434F-AD84-16DBED9A0EF7}">
      <dgm:prSet/>
      <dgm:spPr/>
      <dgm:t>
        <a:bodyPr/>
        <a:lstStyle/>
        <a:p>
          <a:endParaRPr lang="en-US"/>
        </a:p>
      </dgm:t>
    </dgm:pt>
    <dgm:pt modelId="{37EE8D61-FE6F-4B62-946D-8971BA8208C9}">
      <dgm:prSet custT="1"/>
      <dgm:spPr/>
      <dgm:t>
        <a:bodyPr/>
        <a:lstStyle/>
        <a:p>
          <a:r>
            <a:rPr lang="en-US" sz="2200" dirty="0"/>
            <a:t>Teach tenancy skills and prevent eviction</a:t>
          </a:r>
        </a:p>
      </dgm:t>
    </dgm:pt>
    <dgm:pt modelId="{DF3C605C-2F19-455E-9DFD-A9C990688172}" type="parTrans" cxnId="{912CBAC8-7539-4FCA-BAE9-41B9C363DD18}">
      <dgm:prSet/>
      <dgm:spPr/>
      <dgm:t>
        <a:bodyPr/>
        <a:lstStyle/>
        <a:p>
          <a:endParaRPr lang="en-US"/>
        </a:p>
      </dgm:t>
    </dgm:pt>
    <dgm:pt modelId="{DF3537B8-913C-4476-9FC2-812CAC02696B}" type="sibTrans" cxnId="{912CBAC8-7539-4FCA-BAE9-41B9C363DD18}">
      <dgm:prSet/>
      <dgm:spPr/>
      <dgm:t>
        <a:bodyPr/>
        <a:lstStyle/>
        <a:p>
          <a:endParaRPr lang="en-US"/>
        </a:p>
      </dgm:t>
    </dgm:pt>
    <dgm:pt modelId="{C92A9A07-491B-44DD-BFCB-68B9B5503821}">
      <dgm:prSet custT="1"/>
      <dgm:spPr/>
      <dgm:t>
        <a:bodyPr/>
        <a:lstStyle/>
        <a:p>
          <a:r>
            <a:rPr lang="en-US" sz="2200" dirty="0"/>
            <a:t>Help increase income</a:t>
          </a:r>
        </a:p>
      </dgm:t>
    </dgm:pt>
    <dgm:pt modelId="{BF0977B4-70EA-4884-BACF-77D356D51831}" type="parTrans" cxnId="{C72C3818-B8B8-4681-A1E6-2F009034CBD3}">
      <dgm:prSet/>
      <dgm:spPr/>
      <dgm:t>
        <a:bodyPr/>
        <a:lstStyle/>
        <a:p>
          <a:endParaRPr lang="en-US"/>
        </a:p>
      </dgm:t>
    </dgm:pt>
    <dgm:pt modelId="{85D06B12-4A7C-487E-B554-FD35C657B1FF}" type="sibTrans" cxnId="{C72C3818-B8B8-4681-A1E6-2F009034CBD3}">
      <dgm:prSet/>
      <dgm:spPr/>
      <dgm:t>
        <a:bodyPr/>
        <a:lstStyle/>
        <a:p>
          <a:endParaRPr lang="en-US"/>
        </a:p>
      </dgm:t>
    </dgm:pt>
    <dgm:pt modelId="{6CE58802-1CB3-485A-BFE1-E601731B2355}">
      <dgm:prSet custT="1"/>
      <dgm:spPr/>
      <dgm:t>
        <a:bodyPr/>
        <a:lstStyle/>
        <a:p>
          <a:r>
            <a:rPr lang="en-US" sz="2200" dirty="0"/>
            <a:t>Support choice, connect to community resources and supports</a:t>
          </a:r>
        </a:p>
      </dgm:t>
    </dgm:pt>
    <dgm:pt modelId="{D7C9DCB0-6F61-4085-8CF2-09FBF219FCA8}" type="parTrans" cxnId="{2AF1FD2E-0518-45C4-ADDC-F12177B60C99}">
      <dgm:prSet/>
      <dgm:spPr/>
      <dgm:t>
        <a:bodyPr/>
        <a:lstStyle/>
        <a:p>
          <a:endParaRPr lang="en-US"/>
        </a:p>
      </dgm:t>
    </dgm:pt>
    <dgm:pt modelId="{BE2C6EFA-F0D3-41B2-AB7F-8F0C2609C04F}" type="sibTrans" cxnId="{2AF1FD2E-0518-45C4-ADDC-F12177B60C99}">
      <dgm:prSet/>
      <dgm:spPr/>
      <dgm:t>
        <a:bodyPr/>
        <a:lstStyle/>
        <a:p>
          <a:endParaRPr lang="en-US"/>
        </a:p>
      </dgm:t>
    </dgm:pt>
    <dgm:pt modelId="{564B0011-BB81-4B96-8313-1D75F15E6C17}" type="pres">
      <dgm:prSet presAssocID="{EECC07CA-75F3-4612-B8EE-25F103586E2A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56BEEB6F-B701-473E-AFB0-14F6897F87F3}" type="pres">
      <dgm:prSet presAssocID="{6F70E26E-D33F-4C9D-8672-8D7213C64989}" presName="circle1" presStyleLbl="node1" presStyleIdx="0" presStyleCnt="5"/>
      <dgm:spPr/>
    </dgm:pt>
    <dgm:pt modelId="{4E1BE5C6-45AE-4671-80C0-40675DC348C1}" type="pres">
      <dgm:prSet presAssocID="{6F70E26E-D33F-4C9D-8672-8D7213C64989}" presName="space" presStyleCnt="0"/>
      <dgm:spPr/>
    </dgm:pt>
    <dgm:pt modelId="{40F4F28D-D9CD-4FEB-9DB3-968CFAB67366}" type="pres">
      <dgm:prSet presAssocID="{6F70E26E-D33F-4C9D-8672-8D7213C64989}" presName="rect1" presStyleLbl="alignAcc1" presStyleIdx="0" presStyleCnt="5" custScaleY="100000" custLinFactNeighborX="151" custLinFactNeighborY="12615"/>
      <dgm:spPr/>
    </dgm:pt>
    <dgm:pt modelId="{F2BB73E3-F77B-447C-8B86-783851C37EE6}" type="pres">
      <dgm:prSet presAssocID="{1474C680-4B49-4EB3-BAB4-776118FD04E7}" presName="vertSpace2" presStyleLbl="node1" presStyleIdx="0" presStyleCnt="5"/>
      <dgm:spPr/>
    </dgm:pt>
    <dgm:pt modelId="{03C74D23-A7E1-48AB-A14E-3C4CC852EC4A}" type="pres">
      <dgm:prSet presAssocID="{1474C680-4B49-4EB3-BAB4-776118FD04E7}" presName="circle2" presStyleLbl="node1" presStyleIdx="1" presStyleCnt="5"/>
      <dgm:spPr/>
    </dgm:pt>
    <dgm:pt modelId="{68D0DB9D-54D4-4203-BEDA-A86302A6A905}" type="pres">
      <dgm:prSet presAssocID="{1474C680-4B49-4EB3-BAB4-776118FD04E7}" presName="rect2" presStyleLbl="alignAcc1" presStyleIdx="1" presStyleCnt="5"/>
      <dgm:spPr/>
    </dgm:pt>
    <dgm:pt modelId="{35DD0EB2-092D-4B87-B8F5-969F7E11B85B}" type="pres">
      <dgm:prSet presAssocID="{37EE8D61-FE6F-4B62-946D-8971BA8208C9}" presName="vertSpace3" presStyleLbl="node1" presStyleIdx="1" presStyleCnt="5"/>
      <dgm:spPr/>
    </dgm:pt>
    <dgm:pt modelId="{CD83043F-D17D-4DC9-917E-BC434B09C950}" type="pres">
      <dgm:prSet presAssocID="{37EE8D61-FE6F-4B62-946D-8971BA8208C9}" presName="circle3" presStyleLbl="node1" presStyleIdx="2" presStyleCnt="5"/>
      <dgm:spPr/>
    </dgm:pt>
    <dgm:pt modelId="{E623D5D6-F055-4D22-A00C-1F3777FCE5D3}" type="pres">
      <dgm:prSet presAssocID="{37EE8D61-FE6F-4B62-946D-8971BA8208C9}" presName="rect3" presStyleLbl="alignAcc1" presStyleIdx="2" presStyleCnt="5"/>
      <dgm:spPr/>
    </dgm:pt>
    <dgm:pt modelId="{C1DA5209-08E0-4EA2-8D89-76637DCF4C87}" type="pres">
      <dgm:prSet presAssocID="{C92A9A07-491B-44DD-BFCB-68B9B5503821}" presName="vertSpace4" presStyleLbl="node1" presStyleIdx="2" presStyleCnt="5"/>
      <dgm:spPr/>
    </dgm:pt>
    <dgm:pt modelId="{D6C00C7D-6A5A-4B91-9DB2-A38592D84A6E}" type="pres">
      <dgm:prSet presAssocID="{C92A9A07-491B-44DD-BFCB-68B9B5503821}" presName="circle4" presStyleLbl="node1" presStyleIdx="3" presStyleCnt="5"/>
      <dgm:spPr/>
    </dgm:pt>
    <dgm:pt modelId="{5E7138CF-0BEB-434F-9144-D1A93DE2C51A}" type="pres">
      <dgm:prSet presAssocID="{C92A9A07-491B-44DD-BFCB-68B9B5503821}" presName="rect4" presStyleLbl="alignAcc1" presStyleIdx="3" presStyleCnt="5"/>
      <dgm:spPr/>
    </dgm:pt>
    <dgm:pt modelId="{0E03234C-10A7-440C-84A0-BAC86DF5DCFB}" type="pres">
      <dgm:prSet presAssocID="{6CE58802-1CB3-485A-BFE1-E601731B2355}" presName="vertSpace5" presStyleLbl="node1" presStyleIdx="3" presStyleCnt="5"/>
      <dgm:spPr/>
    </dgm:pt>
    <dgm:pt modelId="{C2AFC3E0-360F-4E20-8795-4563106DBB36}" type="pres">
      <dgm:prSet presAssocID="{6CE58802-1CB3-485A-BFE1-E601731B2355}" presName="circle5" presStyleLbl="node1" presStyleIdx="4" presStyleCnt="5"/>
      <dgm:spPr/>
    </dgm:pt>
    <dgm:pt modelId="{A0D5BE67-AD90-4AF8-9792-E1AE9CA4ECC2}" type="pres">
      <dgm:prSet presAssocID="{6CE58802-1CB3-485A-BFE1-E601731B2355}" presName="rect5" presStyleLbl="alignAcc1" presStyleIdx="4" presStyleCnt="5"/>
      <dgm:spPr/>
    </dgm:pt>
    <dgm:pt modelId="{5E350FFB-3A5B-46C3-B93C-056610BC7E6C}" type="pres">
      <dgm:prSet presAssocID="{6F70E26E-D33F-4C9D-8672-8D7213C64989}" presName="rect1ParTxNoCh" presStyleLbl="alignAcc1" presStyleIdx="4" presStyleCnt="5">
        <dgm:presLayoutVars>
          <dgm:chMax val="1"/>
          <dgm:bulletEnabled val="1"/>
        </dgm:presLayoutVars>
      </dgm:prSet>
      <dgm:spPr/>
    </dgm:pt>
    <dgm:pt modelId="{5764FE05-445E-4EEA-8948-495E1F281290}" type="pres">
      <dgm:prSet presAssocID="{1474C680-4B49-4EB3-BAB4-776118FD04E7}" presName="rect2ParTxNoCh" presStyleLbl="alignAcc1" presStyleIdx="4" presStyleCnt="5">
        <dgm:presLayoutVars>
          <dgm:chMax val="1"/>
          <dgm:bulletEnabled val="1"/>
        </dgm:presLayoutVars>
      </dgm:prSet>
      <dgm:spPr/>
    </dgm:pt>
    <dgm:pt modelId="{0CA9AD26-A02E-45E8-BF3B-B3D9271B364B}" type="pres">
      <dgm:prSet presAssocID="{37EE8D61-FE6F-4B62-946D-8971BA8208C9}" presName="rect3ParTxNoCh" presStyleLbl="alignAcc1" presStyleIdx="4" presStyleCnt="5">
        <dgm:presLayoutVars>
          <dgm:chMax val="1"/>
          <dgm:bulletEnabled val="1"/>
        </dgm:presLayoutVars>
      </dgm:prSet>
      <dgm:spPr/>
    </dgm:pt>
    <dgm:pt modelId="{2353FFC1-7B8C-40A2-84D6-59459B4ECA82}" type="pres">
      <dgm:prSet presAssocID="{C92A9A07-491B-44DD-BFCB-68B9B5503821}" presName="rect4ParTxNoCh" presStyleLbl="alignAcc1" presStyleIdx="4" presStyleCnt="5">
        <dgm:presLayoutVars>
          <dgm:chMax val="1"/>
          <dgm:bulletEnabled val="1"/>
        </dgm:presLayoutVars>
      </dgm:prSet>
      <dgm:spPr/>
    </dgm:pt>
    <dgm:pt modelId="{994BB17C-C9ED-40A4-8982-4DB16FA599B5}" type="pres">
      <dgm:prSet presAssocID="{6CE58802-1CB3-485A-BFE1-E601731B2355}" presName="rect5ParTxNoCh" presStyleLbl="alignAcc1" presStyleIdx="4" presStyleCnt="5">
        <dgm:presLayoutVars>
          <dgm:chMax val="1"/>
          <dgm:bulletEnabled val="1"/>
        </dgm:presLayoutVars>
      </dgm:prSet>
      <dgm:spPr/>
    </dgm:pt>
  </dgm:ptLst>
  <dgm:cxnLst>
    <dgm:cxn modelId="{F6842F04-29F9-42DF-9486-9C9CEBD02726}" type="presOf" srcId="{1474C680-4B49-4EB3-BAB4-776118FD04E7}" destId="{68D0DB9D-54D4-4203-BEDA-A86302A6A905}" srcOrd="0" destOrd="0" presId="urn:microsoft.com/office/officeart/2005/8/layout/target3"/>
    <dgm:cxn modelId="{C72C3818-B8B8-4681-A1E6-2F009034CBD3}" srcId="{EECC07CA-75F3-4612-B8EE-25F103586E2A}" destId="{C92A9A07-491B-44DD-BFCB-68B9B5503821}" srcOrd="3" destOrd="0" parTransId="{BF0977B4-70EA-4884-BACF-77D356D51831}" sibTransId="{85D06B12-4A7C-487E-B554-FD35C657B1FF}"/>
    <dgm:cxn modelId="{2AF1FD2E-0518-45C4-ADDC-F12177B60C99}" srcId="{EECC07CA-75F3-4612-B8EE-25F103586E2A}" destId="{6CE58802-1CB3-485A-BFE1-E601731B2355}" srcOrd="4" destOrd="0" parTransId="{D7C9DCB0-6F61-4085-8CF2-09FBF219FCA8}" sibTransId="{BE2C6EFA-F0D3-41B2-AB7F-8F0C2609C04F}"/>
    <dgm:cxn modelId="{ADA9733F-C0D4-434F-AD84-16DBED9A0EF7}" srcId="{EECC07CA-75F3-4612-B8EE-25F103586E2A}" destId="{1474C680-4B49-4EB3-BAB4-776118FD04E7}" srcOrd="1" destOrd="0" parTransId="{F3E38132-AF24-4F80-9C38-31079130C676}" sibTransId="{68221702-C3DC-4790-90CD-4178BF2D9829}"/>
    <dgm:cxn modelId="{266CA75F-D3BE-4339-B02A-A9BB8089F090}" type="presOf" srcId="{1474C680-4B49-4EB3-BAB4-776118FD04E7}" destId="{5764FE05-445E-4EEA-8948-495E1F281290}" srcOrd="1" destOrd="0" presId="urn:microsoft.com/office/officeart/2005/8/layout/target3"/>
    <dgm:cxn modelId="{CE7DC865-0841-4AD3-853F-6AD8EF1837C2}" type="presOf" srcId="{C92A9A07-491B-44DD-BFCB-68B9B5503821}" destId="{2353FFC1-7B8C-40A2-84D6-59459B4ECA82}" srcOrd="1" destOrd="0" presId="urn:microsoft.com/office/officeart/2005/8/layout/target3"/>
    <dgm:cxn modelId="{1186A46B-10D6-4D52-9993-500AF0862685}" srcId="{EECC07CA-75F3-4612-B8EE-25F103586E2A}" destId="{6F70E26E-D33F-4C9D-8672-8D7213C64989}" srcOrd="0" destOrd="0" parTransId="{51C71B90-73B9-49B8-AB01-39FB8DD7B80D}" sibTransId="{81764F29-2133-4461-9C3B-F3A5566D0E4C}"/>
    <dgm:cxn modelId="{E6424D71-0CFF-400B-8289-1DF04623298A}" type="presOf" srcId="{37EE8D61-FE6F-4B62-946D-8971BA8208C9}" destId="{E623D5D6-F055-4D22-A00C-1F3777FCE5D3}" srcOrd="0" destOrd="0" presId="urn:microsoft.com/office/officeart/2005/8/layout/target3"/>
    <dgm:cxn modelId="{CEDFAC59-1CC1-45B4-ACFC-C9BDE1F75521}" type="presOf" srcId="{6F70E26E-D33F-4C9D-8672-8D7213C64989}" destId="{40F4F28D-D9CD-4FEB-9DB3-968CFAB67366}" srcOrd="0" destOrd="0" presId="urn:microsoft.com/office/officeart/2005/8/layout/target3"/>
    <dgm:cxn modelId="{8E8C9A7D-76F3-4411-B0C4-7951807E1643}" type="presOf" srcId="{C92A9A07-491B-44DD-BFCB-68B9B5503821}" destId="{5E7138CF-0BEB-434F-9144-D1A93DE2C51A}" srcOrd="0" destOrd="0" presId="urn:microsoft.com/office/officeart/2005/8/layout/target3"/>
    <dgm:cxn modelId="{59F26593-96E6-4DD7-8040-C33950FECC5E}" type="presOf" srcId="{6CE58802-1CB3-485A-BFE1-E601731B2355}" destId="{A0D5BE67-AD90-4AF8-9792-E1AE9CA4ECC2}" srcOrd="0" destOrd="0" presId="urn:microsoft.com/office/officeart/2005/8/layout/target3"/>
    <dgm:cxn modelId="{3142A099-55D1-451F-BEED-39CF6038BFA5}" type="presOf" srcId="{37EE8D61-FE6F-4B62-946D-8971BA8208C9}" destId="{0CA9AD26-A02E-45E8-BF3B-B3D9271B364B}" srcOrd="1" destOrd="0" presId="urn:microsoft.com/office/officeart/2005/8/layout/target3"/>
    <dgm:cxn modelId="{FC585CB5-981F-42C7-AAAD-680BF3877BB5}" type="presOf" srcId="{6F70E26E-D33F-4C9D-8672-8D7213C64989}" destId="{5E350FFB-3A5B-46C3-B93C-056610BC7E6C}" srcOrd="1" destOrd="0" presId="urn:microsoft.com/office/officeart/2005/8/layout/target3"/>
    <dgm:cxn modelId="{912CBAC8-7539-4FCA-BAE9-41B9C363DD18}" srcId="{EECC07CA-75F3-4612-B8EE-25F103586E2A}" destId="{37EE8D61-FE6F-4B62-946D-8971BA8208C9}" srcOrd="2" destOrd="0" parTransId="{DF3C605C-2F19-455E-9DFD-A9C990688172}" sibTransId="{DF3537B8-913C-4476-9FC2-812CAC02696B}"/>
    <dgm:cxn modelId="{B945DFDB-EE87-405A-98D2-6A1185133B63}" type="presOf" srcId="{6CE58802-1CB3-485A-BFE1-E601731B2355}" destId="{994BB17C-C9ED-40A4-8982-4DB16FA599B5}" srcOrd="1" destOrd="0" presId="urn:microsoft.com/office/officeart/2005/8/layout/target3"/>
    <dgm:cxn modelId="{A416C2F3-64A6-4059-9E8F-A0A073E4FF51}" type="presOf" srcId="{EECC07CA-75F3-4612-B8EE-25F103586E2A}" destId="{564B0011-BB81-4B96-8313-1D75F15E6C17}" srcOrd="0" destOrd="0" presId="urn:microsoft.com/office/officeart/2005/8/layout/target3"/>
    <dgm:cxn modelId="{B062073A-80DE-4B45-8C64-737A666B133C}" type="presParOf" srcId="{564B0011-BB81-4B96-8313-1D75F15E6C17}" destId="{56BEEB6F-B701-473E-AFB0-14F6897F87F3}" srcOrd="0" destOrd="0" presId="urn:microsoft.com/office/officeart/2005/8/layout/target3"/>
    <dgm:cxn modelId="{A5BA8FE8-2BD9-4E21-9F0D-F8FA1BF002D2}" type="presParOf" srcId="{564B0011-BB81-4B96-8313-1D75F15E6C17}" destId="{4E1BE5C6-45AE-4671-80C0-40675DC348C1}" srcOrd="1" destOrd="0" presId="urn:microsoft.com/office/officeart/2005/8/layout/target3"/>
    <dgm:cxn modelId="{B433A4D9-63D5-401F-9256-AE927EEE1A6B}" type="presParOf" srcId="{564B0011-BB81-4B96-8313-1D75F15E6C17}" destId="{40F4F28D-D9CD-4FEB-9DB3-968CFAB67366}" srcOrd="2" destOrd="0" presId="urn:microsoft.com/office/officeart/2005/8/layout/target3"/>
    <dgm:cxn modelId="{C5F0F190-2CF2-4F73-8125-37188F80585B}" type="presParOf" srcId="{564B0011-BB81-4B96-8313-1D75F15E6C17}" destId="{F2BB73E3-F77B-447C-8B86-783851C37EE6}" srcOrd="3" destOrd="0" presId="urn:microsoft.com/office/officeart/2005/8/layout/target3"/>
    <dgm:cxn modelId="{32E6DCC2-E3E0-4A31-8209-A11C3F9270C4}" type="presParOf" srcId="{564B0011-BB81-4B96-8313-1D75F15E6C17}" destId="{03C74D23-A7E1-48AB-A14E-3C4CC852EC4A}" srcOrd="4" destOrd="0" presId="urn:microsoft.com/office/officeart/2005/8/layout/target3"/>
    <dgm:cxn modelId="{1A3B04C8-E405-4E93-A14A-D7ABAD628632}" type="presParOf" srcId="{564B0011-BB81-4B96-8313-1D75F15E6C17}" destId="{68D0DB9D-54D4-4203-BEDA-A86302A6A905}" srcOrd="5" destOrd="0" presId="urn:microsoft.com/office/officeart/2005/8/layout/target3"/>
    <dgm:cxn modelId="{7BA481F5-7A79-4E78-8B48-E6596271415B}" type="presParOf" srcId="{564B0011-BB81-4B96-8313-1D75F15E6C17}" destId="{35DD0EB2-092D-4B87-B8F5-969F7E11B85B}" srcOrd="6" destOrd="0" presId="urn:microsoft.com/office/officeart/2005/8/layout/target3"/>
    <dgm:cxn modelId="{80E13DA3-1841-42BC-A202-97F14EA10112}" type="presParOf" srcId="{564B0011-BB81-4B96-8313-1D75F15E6C17}" destId="{CD83043F-D17D-4DC9-917E-BC434B09C950}" srcOrd="7" destOrd="0" presId="urn:microsoft.com/office/officeart/2005/8/layout/target3"/>
    <dgm:cxn modelId="{0F12AC38-8A5D-4A67-9F12-807B0C601CB7}" type="presParOf" srcId="{564B0011-BB81-4B96-8313-1D75F15E6C17}" destId="{E623D5D6-F055-4D22-A00C-1F3777FCE5D3}" srcOrd="8" destOrd="0" presId="urn:microsoft.com/office/officeart/2005/8/layout/target3"/>
    <dgm:cxn modelId="{04CAFF81-BEDC-4A76-92B0-E5EA65E67DA1}" type="presParOf" srcId="{564B0011-BB81-4B96-8313-1D75F15E6C17}" destId="{C1DA5209-08E0-4EA2-8D89-76637DCF4C87}" srcOrd="9" destOrd="0" presId="urn:microsoft.com/office/officeart/2005/8/layout/target3"/>
    <dgm:cxn modelId="{4445CF3D-1C72-4D29-9870-36D1A650B600}" type="presParOf" srcId="{564B0011-BB81-4B96-8313-1D75F15E6C17}" destId="{D6C00C7D-6A5A-4B91-9DB2-A38592D84A6E}" srcOrd="10" destOrd="0" presId="urn:microsoft.com/office/officeart/2005/8/layout/target3"/>
    <dgm:cxn modelId="{B46369BD-89B0-4136-B6AC-6A2FA258BA79}" type="presParOf" srcId="{564B0011-BB81-4B96-8313-1D75F15E6C17}" destId="{5E7138CF-0BEB-434F-9144-D1A93DE2C51A}" srcOrd="11" destOrd="0" presId="urn:microsoft.com/office/officeart/2005/8/layout/target3"/>
    <dgm:cxn modelId="{3F456EE0-1564-46B4-A4BB-A7633FBAB53B}" type="presParOf" srcId="{564B0011-BB81-4B96-8313-1D75F15E6C17}" destId="{0E03234C-10A7-440C-84A0-BAC86DF5DCFB}" srcOrd="12" destOrd="0" presId="urn:microsoft.com/office/officeart/2005/8/layout/target3"/>
    <dgm:cxn modelId="{43237079-BB8E-423A-8B22-2DA4CBD142C6}" type="presParOf" srcId="{564B0011-BB81-4B96-8313-1D75F15E6C17}" destId="{C2AFC3E0-360F-4E20-8795-4563106DBB36}" srcOrd="13" destOrd="0" presId="urn:microsoft.com/office/officeart/2005/8/layout/target3"/>
    <dgm:cxn modelId="{27BC7020-591E-4E1D-B101-6E1FA5820E39}" type="presParOf" srcId="{564B0011-BB81-4B96-8313-1D75F15E6C17}" destId="{A0D5BE67-AD90-4AF8-9792-E1AE9CA4ECC2}" srcOrd="14" destOrd="0" presId="urn:microsoft.com/office/officeart/2005/8/layout/target3"/>
    <dgm:cxn modelId="{5085451A-2237-43C1-802A-139A09DCB47D}" type="presParOf" srcId="{564B0011-BB81-4B96-8313-1D75F15E6C17}" destId="{5E350FFB-3A5B-46C3-B93C-056610BC7E6C}" srcOrd="15" destOrd="0" presId="urn:microsoft.com/office/officeart/2005/8/layout/target3"/>
    <dgm:cxn modelId="{823E33F3-2008-4FFF-A72B-5A3001994E66}" type="presParOf" srcId="{564B0011-BB81-4B96-8313-1D75F15E6C17}" destId="{5764FE05-445E-4EEA-8948-495E1F281290}" srcOrd="16" destOrd="0" presId="urn:microsoft.com/office/officeart/2005/8/layout/target3"/>
    <dgm:cxn modelId="{2DBAE8C7-BD1F-4079-BBE9-8D188B9536A8}" type="presParOf" srcId="{564B0011-BB81-4B96-8313-1D75F15E6C17}" destId="{0CA9AD26-A02E-45E8-BF3B-B3D9271B364B}" srcOrd="17" destOrd="0" presId="urn:microsoft.com/office/officeart/2005/8/layout/target3"/>
    <dgm:cxn modelId="{967C3522-9A84-40D9-B00C-EA69F2B88ED5}" type="presParOf" srcId="{564B0011-BB81-4B96-8313-1D75F15E6C17}" destId="{2353FFC1-7B8C-40A2-84D6-59459B4ECA82}" srcOrd="18" destOrd="0" presId="urn:microsoft.com/office/officeart/2005/8/layout/target3"/>
    <dgm:cxn modelId="{1775F06B-F96E-4041-BAE8-64E96E297FDB}" type="presParOf" srcId="{564B0011-BB81-4B96-8313-1D75F15E6C17}" destId="{994BB17C-C9ED-40A4-8982-4DB16FA599B5}" srcOrd="19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C09039D-7EEC-4A46-9288-1A6AEA1596F5}" type="doc">
      <dgm:prSet loTypeId="urn:microsoft.com/office/officeart/2005/8/layout/target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99CBF05-29E6-4D1B-9117-B69BC5DC929A}">
      <dgm:prSet custT="1"/>
      <dgm:spPr/>
      <dgm:t>
        <a:bodyPr/>
        <a:lstStyle/>
        <a:p>
          <a:pPr rtl="0"/>
          <a:r>
            <a:rPr lang="en-US" sz="4400" dirty="0"/>
            <a:t>Harm Reduction is a perspective and a set of practical strategies to reduce the negative consequences of drug use, incorporating a spectrum of strategies from safer use to abstinence.</a:t>
          </a:r>
        </a:p>
      </dgm:t>
    </dgm:pt>
    <dgm:pt modelId="{B4FBE4B3-0CF5-4696-A1B9-F804C8861349}" type="parTrans" cxnId="{385005C4-FC0F-4EBE-BE54-8BB47C2EE18C}">
      <dgm:prSet/>
      <dgm:spPr/>
      <dgm:t>
        <a:bodyPr/>
        <a:lstStyle/>
        <a:p>
          <a:endParaRPr lang="en-US"/>
        </a:p>
      </dgm:t>
    </dgm:pt>
    <dgm:pt modelId="{988F55E3-725C-4B7E-B6ED-0026E4B78663}" type="sibTrans" cxnId="{385005C4-FC0F-4EBE-BE54-8BB47C2EE18C}">
      <dgm:prSet/>
      <dgm:spPr/>
      <dgm:t>
        <a:bodyPr/>
        <a:lstStyle/>
        <a:p>
          <a:endParaRPr lang="en-US"/>
        </a:p>
      </dgm:t>
    </dgm:pt>
    <dgm:pt modelId="{87B7224B-397F-4F78-8695-88D9F155203D}" type="pres">
      <dgm:prSet presAssocID="{AC09039D-7EEC-4A46-9288-1A6AEA1596F5}" presName="Name0" presStyleCnt="0">
        <dgm:presLayoutVars>
          <dgm:chMax val="7"/>
          <dgm:dir/>
          <dgm:animLvl val="lvl"/>
          <dgm:resizeHandles val="exact"/>
        </dgm:presLayoutVars>
      </dgm:prSet>
      <dgm:spPr/>
    </dgm:pt>
    <dgm:pt modelId="{D0C48153-4342-47BF-98D4-1CF86FBED71C}" type="pres">
      <dgm:prSet presAssocID="{E99CBF05-29E6-4D1B-9117-B69BC5DC929A}" presName="circle1" presStyleLbl="node1" presStyleIdx="0" presStyleCnt="1"/>
      <dgm:spPr/>
    </dgm:pt>
    <dgm:pt modelId="{D0871778-BDDB-4879-86AD-CEA737E71E5D}" type="pres">
      <dgm:prSet presAssocID="{E99CBF05-29E6-4D1B-9117-B69BC5DC929A}" presName="space" presStyleCnt="0"/>
      <dgm:spPr/>
    </dgm:pt>
    <dgm:pt modelId="{DC3F8EDD-B76C-450B-B936-3DA1DBDD9A9C}" type="pres">
      <dgm:prSet presAssocID="{E99CBF05-29E6-4D1B-9117-B69BC5DC929A}" presName="rect1" presStyleLbl="alignAcc1" presStyleIdx="0" presStyleCnt="1" custScaleX="100000" custScaleY="100000"/>
      <dgm:spPr/>
    </dgm:pt>
    <dgm:pt modelId="{0C93BC19-301D-4771-ACC0-A22005C2DD04}" type="pres">
      <dgm:prSet presAssocID="{E99CBF05-29E6-4D1B-9117-B69BC5DC929A}" presName="rect1ParTxNoCh" presStyleLbl="alignAcc1" presStyleIdx="0" presStyleCnt="1">
        <dgm:presLayoutVars>
          <dgm:chMax val="1"/>
          <dgm:bulletEnabled val="1"/>
        </dgm:presLayoutVars>
      </dgm:prSet>
      <dgm:spPr/>
    </dgm:pt>
  </dgm:ptLst>
  <dgm:cxnLst>
    <dgm:cxn modelId="{8F99B62B-786A-4644-8CDF-586AF670ACD6}" type="presOf" srcId="{E99CBF05-29E6-4D1B-9117-B69BC5DC929A}" destId="{0C93BC19-301D-4771-ACC0-A22005C2DD04}" srcOrd="1" destOrd="0" presId="urn:microsoft.com/office/officeart/2005/8/layout/target3"/>
    <dgm:cxn modelId="{79B5DA42-64A7-40D8-B99C-20C09F2E9B8E}" type="presOf" srcId="{E99CBF05-29E6-4D1B-9117-B69BC5DC929A}" destId="{DC3F8EDD-B76C-450B-B936-3DA1DBDD9A9C}" srcOrd="0" destOrd="0" presId="urn:microsoft.com/office/officeart/2005/8/layout/target3"/>
    <dgm:cxn modelId="{BCE356B0-DEF1-4C24-9810-8398C7F5283E}" type="presOf" srcId="{AC09039D-7EEC-4A46-9288-1A6AEA1596F5}" destId="{87B7224B-397F-4F78-8695-88D9F155203D}" srcOrd="0" destOrd="0" presId="urn:microsoft.com/office/officeart/2005/8/layout/target3"/>
    <dgm:cxn modelId="{385005C4-FC0F-4EBE-BE54-8BB47C2EE18C}" srcId="{AC09039D-7EEC-4A46-9288-1A6AEA1596F5}" destId="{E99CBF05-29E6-4D1B-9117-B69BC5DC929A}" srcOrd="0" destOrd="0" parTransId="{B4FBE4B3-0CF5-4696-A1B9-F804C8861349}" sibTransId="{988F55E3-725C-4B7E-B6ED-0026E4B78663}"/>
    <dgm:cxn modelId="{67963947-3A52-4287-B697-9EAFC500BC06}" type="presParOf" srcId="{87B7224B-397F-4F78-8695-88D9F155203D}" destId="{D0C48153-4342-47BF-98D4-1CF86FBED71C}" srcOrd="0" destOrd="0" presId="urn:microsoft.com/office/officeart/2005/8/layout/target3"/>
    <dgm:cxn modelId="{76B48C87-853A-45A5-B8D5-462174794662}" type="presParOf" srcId="{87B7224B-397F-4F78-8695-88D9F155203D}" destId="{D0871778-BDDB-4879-86AD-CEA737E71E5D}" srcOrd="1" destOrd="0" presId="urn:microsoft.com/office/officeart/2005/8/layout/target3"/>
    <dgm:cxn modelId="{96FCEE98-A2DF-4AAA-B8BA-14F17386D250}" type="presParOf" srcId="{87B7224B-397F-4F78-8695-88D9F155203D}" destId="{DC3F8EDD-B76C-450B-B936-3DA1DBDD9A9C}" srcOrd="2" destOrd="0" presId="urn:microsoft.com/office/officeart/2005/8/layout/target3"/>
    <dgm:cxn modelId="{5B301C99-6FB7-4267-A52C-8EDD65DF9251}" type="presParOf" srcId="{87B7224B-397F-4F78-8695-88D9F155203D}" destId="{0C93BC19-301D-4771-ACC0-A22005C2DD04}" srcOrd="3" destOrd="0" presId="urn:microsoft.com/office/officeart/2005/8/layout/targe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2F3D4FB-4F32-4544-9B28-CA81976AA6B2}" type="doc">
      <dgm:prSet loTypeId="urn:microsoft.com/office/officeart/2005/8/layout/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77A69BB-E083-406A-8B17-98E87A8B7AD8}">
      <dgm:prSet custT="1"/>
      <dgm:spPr/>
      <dgm:t>
        <a:bodyPr/>
        <a:lstStyle/>
        <a:p>
          <a:pPr rtl="0"/>
          <a:r>
            <a:rPr lang="en-US" sz="2000" dirty="0">
              <a:solidFill>
                <a:schemeClr val="tx1"/>
              </a:solidFill>
            </a:rPr>
            <a:t>Consumer identifies goals and path to achieve them</a:t>
          </a:r>
        </a:p>
      </dgm:t>
    </dgm:pt>
    <dgm:pt modelId="{F7D18E93-B6B0-4EE9-92F5-818FAB4EF52F}" type="parTrans" cxnId="{30A4E8CF-94E2-45A2-9B24-B9076E7D68AC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6F0DC772-0A6D-4463-95B6-AD2E0FB901DB}" type="sibTrans" cxnId="{30A4E8CF-94E2-45A2-9B24-B9076E7D68AC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2CBC37CB-2ED0-469B-9DCD-2A4A58308989}">
      <dgm:prSet/>
      <dgm:spPr>
        <a:solidFill>
          <a:srgbClr val="FFC000"/>
        </a:solidFill>
      </dgm:spPr>
      <dgm:t>
        <a:bodyPr/>
        <a:lstStyle/>
        <a:p>
          <a:pPr rtl="0"/>
          <a:r>
            <a:rPr lang="en-US" sz="2400" dirty="0">
              <a:solidFill>
                <a:schemeClr val="tx1"/>
              </a:solidFill>
            </a:rPr>
            <a:t>Raises awareness of risk and strategies to reduce harm</a:t>
          </a:r>
        </a:p>
      </dgm:t>
    </dgm:pt>
    <dgm:pt modelId="{80DF5519-2B58-402A-8D46-8E8C1A0459D6}" type="parTrans" cxnId="{6F573298-2D2B-41A1-9FF7-3E88629C1F2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DB2E1BC2-5574-41EA-ADDF-38FC7BA9D6FD}" type="sibTrans" cxnId="{6F573298-2D2B-41A1-9FF7-3E88629C1F22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09008323-383E-421E-963C-DAA4C8D73535}">
      <dgm:prSet custT="1"/>
      <dgm:spPr/>
      <dgm:t>
        <a:bodyPr/>
        <a:lstStyle/>
        <a:p>
          <a:pPr rtl="0"/>
          <a:r>
            <a:rPr lang="en-US" sz="2000" dirty="0">
              <a:solidFill>
                <a:schemeClr val="tx1"/>
              </a:solidFill>
            </a:rPr>
            <a:t>Abstinence may be a goal, but alternatives that reduce risk are equally valued</a:t>
          </a:r>
        </a:p>
      </dgm:t>
    </dgm:pt>
    <dgm:pt modelId="{60A7ABAB-4A93-4BFE-8BE7-9C5015BF4020}" type="parTrans" cxnId="{37F7569C-57BB-4D71-A874-DE6702D07C6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9619550-F0B4-423E-A6C4-6EAD98174A1B}" type="sibTrans" cxnId="{37F7569C-57BB-4D71-A874-DE6702D07C6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5A6B1B6B-9679-4103-96F3-FEFCA75BAAEF}">
      <dgm:prSet custT="1"/>
      <dgm:spPr>
        <a:solidFill>
          <a:srgbClr val="FFC000"/>
        </a:solidFill>
      </dgm:spPr>
      <dgm:t>
        <a:bodyPr/>
        <a:lstStyle/>
        <a:p>
          <a:pPr rtl="0"/>
          <a:r>
            <a:rPr lang="en-US" sz="2000" dirty="0">
              <a:solidFill>
                <a:schemeClr val="tx1"/>
              </a:solidFill>
            </a:rPr>
            <a:t>Does not condone risks that can cause serious harm</a:t>
          </a:r>
        </a:p>
      </dgm:t>
    </dgm:pt>
    <dgm:pt modelId="{58627C2A-18BD-4C8A-85AE-A9267F34AF8B}" type="parTrans" cxnId="{79734C6C-4C2C-44CB-8C11-05711E80860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C8543E5E-A290-4290-8580-991347C606EF}" type="sibTrans" cxnId="{79734C6C-4C2C-44CB-8C11-05711E80860A}">
      <dgm:prSet/>
      <dgm:spPr/>
      <dgm:t>
        <a:bodyPr/>
        <a:lstStyle/>
        <a:p>
          <a:endParaRPr lang="en-US">
            <a:solidFill>
              <a:schemeClr val="tx1"/>
            </a:solidFill>
          </a:endParaRPr>
        </a:p>
      </dgm:t>
    </dgm:pt>
    <dgm:pt modelId="{43AFB476-F247-42B4-AF11-9E4C9669E3D8}">
      <dgm:prSet custT="1"/>
      <dgm:spPr/>
      <dgm:t>
        <a:bodyPr/>
        <a:lstStyle/>
        <a:p>
          <a:pPr rtl="0"/>
          <a:r>
            <a:rPr lang="en-US" sz="2000" dirty="0">
              <a:solidFill>
                <a:schemeClr val="tx1"/>
              </a:solidFill>
            </a:rPr>
            <a:t>Recovery as non-linear process</a:t>
          </a:r>
        </a:p>
      </dgm:t>
    </dgm:pt>
    <dgm:pt modelId="{D0D9830C-1844-44EF-A31D-D9996CA261AC}" type="parTrans" cxnId="{1109F994-E620-4FF6-A69D-F5E58C54FF5F}">
      <dgm:prSet/>
      <dgm:spPr/>
      <dgm:t>
        <a:bodyPr/>
        <a:lstStyle/>
        <a:p>
          <a:endParaRPr lang="en-US"/>
        </a:p>
      </dgm:t>
    </dgm:pt>
    <dgm:pt modelId="{4D560CED-1316-469F-98CA-EF1AB147D5D0}" type="sibTrans" cxnId="{1109F994-E620-4FF6-A69D-F5E58C54FF5F}">
      <dgm:prSet/>
      <dgm:spPr/>
      <dgm:t>
        <a:bodyPr/>
        <a:lstStyle/>
        <a:p>
          <a:endParaRPr lang="en-US"/>
        </a:p>
      </dgm:t>
    </dgm:pt>
    <dgm:pt modelId="{2ED93C1B-A169-493C-AA30-A6DDB56096FC}">
      <dgm:prSet custT="1"/>
      <dgm:spPr>
        <a:solidFill>
          <a:srgbClr val="FFC000"/>
        </a:solidFill>
      </dgm:spPr>
      <dgm:t>
        <a:bodyPr/>
        <a:lstStyle/>
        <a:p>
          <a:pPr rtl="0"/>
          <a:r>
            <a:rPr lang="en-US" sz="2000" dirty="0">
              <a:solidFill>
                <a:schemeClr val="tx1"/>
              </a:solidFill>
            </a:rPr>
            <a:t>Highly accessible: low barriers, informal </a:t>
          </a:r>
          <a:endParaRPr lang="en-US" sz="2800" dirty="0">
            <a:solidFill>
              <a:schemeClr val="tx1"/>
            </a:solidFill>
          </a:endParaRPr>
        </a:p>
      </dgm:t>
    </dgm:pt>
    <dgm:pt modelId="{15E3478A-E5B3-4C67-8782-A4AFC102ABB9}" type="parTrans" cxnId="{C436FA5F-1FB5-4A6B-865B-840FA6D4E928}">
      <dgm:prSet/>
      <dgm:spPr/>
      <dgm:t>
        <a:bodyPr/>
        <a:lstStyle/>
        <a:p>
          <a:endParaRPr lang="en-US"/>
        </a:p>
      </dgm:t>
    </dgm:pt>
    <dgm:pt modelId="{D71B0665-9872-4CD3-828A-421C5CEC7A30}" type="sibTrans" cxnId="{C436FA5F-1FB5-4A6B-865B-840FA6D4E928}">
      <dgm:prSet/>
      <dgm:spPr/>
      <dgm:t>
        <a:bodyPr/>
        <a:lstStyle/>
        <a:p>
          <a:endParaRPr lang="en-US"/>
        </a:p>
      </dgm:t>
    </dgm:pt>
    <dgm:pt modelId="{E8218279-BAD5-4787-AB65-558EA5956FB2}" type="pres">
      <dgm:prSet presAssocID="{F2F3D4FB-4F32-4544-9B28-CA81976AA6B2}" presName="diagram" presStyleCnt="0">
        <dgm:presLayoutVars>
          <dgm:dir/>
          <dgm:resizeHandles val="exact"/>
        </dgm:presLayoutVars>
      </dgm:prSet>
      <dgm:spPr/>
    </dgm:pt>
    <dgm:pt modelId="{C125A991-CABE-4965-AF4C-DF59FEC3A98A}" type="pres">
      <dgm:prSet presAssocID="{477A69BB-E083-406A-8B17-98E87A8B7AD8}" presName="node" presStyleLbl="node1" presStyleIdx="0" presStyleCnt="6">
        <dgm:presLayoutVars>
          <dgm:bulletEnabled val="1"/>
        </dgm:presLayoutVars>
      </dgm:prSet>
      <dgm:spPr/>
    </dgm:pt>
    <dgm:pt modelId="{23EF6F4A-02D1-4D55-A655-0215B219BAF1}" type="pres">
      <dgm:prSet presAssocID="{6F0DC772-0A6D-4463-95B6-AD2E0FB901DB}" presName="sibTrans" presStyleLbl="sibTrans2D1" presStyleIdx="0" presStyleCnt="5"/>
      <dgm:spPr/>
    </dgm:pt>
    <dgm:pt modelId="{274B7725-6E26-4336-B958-4DDF7BCE8CE8}" type="pres">
      <dgm:prSet presAssocID="{6F0DC772-0A6D-4463-95B6-AD2E0FB901DB}" presName="connectorText" presStyleLbl="sibTrans2D1" presStyleIdx="0" presStyleCnt="5"/>
      <dgm:spPr/>
    </dgm:pt>
    <dgm:pt modelId="{029C8D2F-4D9F-4933-8F46-7AC05A09D477}" type="pres">
      <dgm:prSet presAssocID="{2CBC37CB-2ED0-469B-9DCD-2A4A58308989}" presName="node" presStyleLbl="node1" presStyleIdx="1" presStyleCnt="6" custScaleX="110402" custLinFactNeighborX="1523" custLinFactNeighborY="-3971">
        <dgm:presLayoutVars>
          <dgm:bulletEnabled val="1"/>
        </dgm:presLayoutVars>
      </dgm:prSet>
      <dgm:spPr/>
    </dgm:pt>
    <dgm:pt modelId="{CAD6CB11-138F-47F6-A748-3220785CA7DA}" type="pres">
      <dgm:prSet presAssocID="{DB2E1BC2-5574-41EA-ADDF-38FC7BA9D6FD}" presName="sibTrans" presStyleLbl="sibTrans2D1" presStyleIdx="1" presStyleCnt="5"/>
      <dgm:spPr/>
    </dgm:pt>
    <dgm:pt modelId="{731AA5E7-975E-4ABF-8609-01F003222494}" type="pres">
      <dgm:prSet presAssocID="{DB2E1BC2-5574-41EA-ADDF-38FC7BA9D6FD}" presName="connectorText" presStyleLbl="sibTrans2D1" presStyleIdx="1" presStyleCnt="5"/>
      <dgm:spPr/>
    </dgm:pt>
    <dgm:pt modelId="{EAAAC3BC-4FB9-496A-91F3-E6C800E2ECD5}" type="pres">
      <dgm:prSet presAssocID="{09008323-383E-421E-963C-DAA4C8D73535}" presName="node" presStyleLbl="node1" presStyleIdx="2" presStyleCnt="6" custScaleX="110336" custScaleY="114463" custLinFactNeighborX="-4163" custLinFactNeighborY="-6619">
        <dgm:presLayoutVars>
          <dgm:bulletEnabled val="1"/>
        </dgm:presLayoutVars>
      </dgm:prSet>
      <dgm:spPr/>
    </dgm:pt>
    <dgm:pt modelId="{F2A11637-943C-4094-925C-47448FCB5A08}" type="pres">
      <dgm:prSet presAssocID="{59619550-F0B4-423E-A6C4-6EAD98174A1B}" presName="sibTrans" presStyleLbl="sibTrans2D1" presStyleIdx="2" presStyleCnt="5"/>
      <dgm:spPr/>
    </dgm:pt>
    <dgm:pt modelId="{30EE1AE1-D04E-4EE5-B1E0-4C67A77F8A3B}" type="pres">
      <dgm:prSet presAssocID="{59619550-F0B4-423E-A6C4-6EAD98174A1B}" presName="connectorText" presStyleLbl="sibTrans2D1" presStyleIdx="2" presStyleCnt="5"/>
      <dgm:spPr/>
    </dgm:pt>
    <dgm:pt modelId="{ED424861-FDF2-4971-B755-3DDFA3A37132}" type="pres">
      <dgm:prSet presAssocID="{5A6B1B6B-9679-4103-96F3-FEFCA75BAAEF}" presName="node" presStyleLbl="node1" presStyleIdx="3" presStyleCnt="6">
        <dgm:presLayoutVars>
          <dgm:bulletEnabled val="1"/>
        </dgm:presLayoutVars>
      </dgm:prSet>
      <dgm:spPr/>
    </dgm:pt>
    <dgm:pt modelId="{D5A095A4-DFCC-4888-AB45-53F07D11D399}" type="pres">
      <dgm:prSet presAssocID="{C8543E5E-A290-4290-8580-991347C606EF}" presName="sibTrans" presStyleLbl="sibTrans2D1" presStyleIdx="3" presStyleCnt="5"/>
      <dgm:spPr/>
    </dgm:pt>
    <dgm:pt modelId="{57C1A6C8-0961-4FD8-907E-98C5EB96EB24}" type="pres">
      <dgm:prSet presAssocID="{C8543E5E-A290-4290-8580-991347C606EF}" presName="connectorText" presStyleLbl="sibTrans2D1" presStyleIdx="3" presStyleCnt="5"/>
      <dgm:spPr/>
    </dgm:pt>
    <dgm:pt modelId="{631E0BC6-2AF5-40B8-8428-842911DBFAC2}" type="pres">
      <dgm:prSet presAssocID="{43AFB476-F247-42B4-AF11-9E4C9669E3D8}" presName="node" presStyleLbl="node1" presStyleIdx="4" presStyleCnt="6">
        <dgm:presLayoutVars>
          <dgm:bulletEnabled val="1"/>
        </dgm:presLayoutVars>
      </dgm:prSet>
      <dgm:spPr/>
    </dgm:pt>
    <dgm:pt modelId="{BC5A8B22-3364-47BC-92DE-BEDCDB525A23}" type="pres">
      <dgm:prSet presAssocID="{4D560CED-1316-469F-98CA-EF1AB147D5D0}" presName="sibTrans" presStyleLbl="sibTrans2D1" presStyleIdx="4" presStyleCnt="5"/>
      <dgm:spPr/>
    </dgm:pt>
    <dgm:pt modelId="{49F54F35-E070-4AB6-9CD7-2C768509E999}" type="pres">
      <dgm:prSet presAssocID="{4D560CED-1316-469F-98CA-EF1AB147D5D0}" presName="connectorText" presStyleLbl="sibTrans2D1" presStyleIdx="4" presStyleCnt="5"/>
      <dgm:spPr/>
    </dgm:pt>
    <dgm:pt modelId="{CDE09CE3-A534-4D3E-997F-1E45A2C0F8FD}" type="pres">
      <dgm:prSet presAssocID="{2ED93C1B-A169-493C-AA30-A6DDB56096FC}" presName="node" presStyleLbl="node1" presStyleIdx="5" presStyleCnt="6">
        <dgm:presLayoutVars>
          <dgm:bulletEnabled val="1"/>
        </dgm:presLayoutVars>
      </dgm:prSet>
      <dgm:spPr/>
    </dgm:pt>
  </dgm:ptLst>
  <dgm:cxnLst>
    <dgm:cxn modelId="{9BD4EB0A-83FF-4728-B9A2-5AEBE36125BC}" type="presOf" srcId="{DB2E1BC2-5574-41EA-ADDF-38FC7BA9D6FD}" destId="{731AA5E7-975E-4ABF-8609-01F003222494}" srcOrd="1" destOrd="0" presId="urn:microsoft.com/office/officeart/2005/8/layout/process5"/>
    <dgm:cxn modelId="{D3C68F1D-1CD1-4721-8B69-33C4680C8E4A}" type="presOf" srcId="{C8543E5E-A290-4290-8580-991347C606EF}" destId="{57C1A6C8-0961-4FD8-907E-98C5EB96EB24}" srcOrd="1" destOrd="0" presId="urn:microsoft.com/office/officeart/2005/8/layout/process5"/>
    <dgm:cxn modelId="{F570131E-B8D5-47EF-B85A-EAB60E3D3FEB}" type="presOf" srcId="{F2F3D4FB-4F32-4544-9B28-CA81976AA6B2}" destId="{E8218279-BAD5-4787-AB65-558EA5956FB2}" srcOrd="0" destOrd="0" presId="urn:microsoft.com/office/officeart/2005/8/layout/process5"/>
    <dgm:cxn modelId="{D2566221-CEA1-4C8C-93C6-2B07B5463B60}" type="presOf" srcId="{59619550-F0B4-423E-A6C4-6EAD98174A1B}" destId="{30EE1AE1-D04E-4EE5-B1E0-4C67A77F8A3B}" srcOrd="1" destOrd="0" presId="urn:microsoft.com/office/officeart/2005/8/layout/process5"/>
    <dgm:cxn modelId="{BAB62B24-23B1-4431-9A7C-8D4ACDB701B5}" type="presOf" srcId="{59619550-F0B4-423E-A6C4-6EAD98174A1B}" destId="{F2A11637-943C-4094-925C-47448FCB5A08}" srcOrd="0" destOrd="0" presId="urn:microsoft.com/office/officeart/2005/8/layout/process5"/>
    <dgm:cxn modelId="{8D2C7F27-E0A7-4E51-B148-6918C80415E8}" type="presOf" srcId="{43AFB476-F247-42B4-AF11-9E4C9669E3D8}" destId="{631E0BC6-2AF5-40B8-8428-842911DBFAC2}" srcOrd="0" destOrd="0" presId="urn:microsoft.com/office/officeart/2005/8/layout/process5"/>
    <dgm:cxn modelId="{1A8F2633-EE2E-4B89-8450-71C5CFD0D3D7}" type="presOf" srcId="{4D560CED-1316-469F-98CA-EF1AB147D5D0}" destId="{49F54F35-E070-4AB6-9CD7-2C768509E999}" srcOrd="1" destOrd="0" presId="urn:microsoft.com/office/officeart/2005/8/layout/process5"/>
    <dgm:cxn modelId="{C436FA5F-1FB5-4A6B-865B-840FA6D4E928}" srcId="{F2F3D4FB-4F32-4544-9B28-CA81976AA6B2}" destId="{2ED93C1B-A169-493C-AA30-A6DDB56096FC}" srcOrd="5" destOrd="0" parTransId="{15E3478A-E5B3-4C67-8782-A4AFC102ABB9}" sibTransId="{D71B0665-9872-4CD3-828A-421C5CEC7A30}"/>
    <dgm:cxn modelId="{723FA642-37B8-4E09-B76F-B2A7CA69D101}" type="presOf" srcId="{5A6B1B6B-9679-4103-96F3-FEFCA75BAAEF}" destId="{ED424861-FDF2-4971-B755-3DDFA3A37132}" srcOrd="0" destOrd="0" presId="urn:microsoft.com/office/officeart/2005/8/layout/process5"/>
    <dgm:cxn modelId="{AE758849-F911-4C02-83BB-36A732DFE329}" type="presOf" srcId="{C8543E5E-A290-4290-8580-991347C606EF}" destId="{D5A095A4-DFCC-4888-AB45-53F07D11D399}" srcOrd="0" destOrd="0" presId="urn:microsoft.com/office/officeart/2005/8/layout/process5"/>
    <dgm:cxn modelId="{79734C6C-4C2C-44CB-8C11-05711E80860A}" srcId="{F2F3D4FB-4F32-4544-9B28-CA81976AA6B2}" destId="{5A6B1B6B-9679-4103-96F3-FEFCA75BAAEF}" srcOrd="3" destOrd="0" parTransId="{58627C2A-18BD-4C8A-85AE-A9267F34AF8B}" sibTransId="{C8543E5E-A290-4290-8580-991347C606EF}"/>
    <dgm:cxn modelId="{E553F657-3E8C-4B01-94BF-4F69941A6A02}" type="presOf" srcId="{09008323-383E-421E-963C-DAA4C8D73535}" destId="{EAAAC3BC-4FB9-496A-91F3-E6C800E2ECD5}" srcOrd="0" destOrd="0" presId="urn:microsoft.com/office/officeart/2005/8/layout/process5"/>
    <dgm:cxn modelId="{FDE90079-2AA9-4047-9FBD-4E7EECE1522D}" type="presOf" srcId="{6F0DC772-0A6D-4463-95B6-AD2E0FB901DB}" destId="{274B7725-6E26-4336-B958-4DDF7BCE8CE8}" srcOrd="1" destOrd="0" presId="urn:microsoft.com/office/officeart/2005/8/layout/process5"/>
    <dgm:cxn modelId="{0F700E8F-E0B7-47B9-9297-2A67DEE3A1A4}" type="presOf" srcId="{4D560CED-1316-469F-98CA-EF1AB147D5D0}" destId="{BC5A8B22-3364-47BC-92DE-BEDCDB525A23}" srcOrd="0" destOrd="0" presId="urn:microsoft.com/office/officeart/2005/8/layout/process5"/>
    <dgm:cxn modelId="{1109F994-E620-4FF6-A69D-F5E58C54FF5F}" srcId="{F2F3D4FB-4F32-4544-9B28-CA81976AA6B2}" destId="{43AFB476-F247-42B4-AF11-9E4C9669E3D8}" srcOrd="4" destOrd="0" parTransId="{D0D9830C-1844-44EF-A31D-D9996CA261AC}" sibTransId="{4D560CED-1316-469F-98CA-EF1AB147D5D0}"/>
    <dgm:cxn modelId="{3ADB5196-22D8-48B3-9F60-55C4C6FA4EE0}" type="presOf" srcId="{2ED93C1B-A169-493C-AA30-A6DDB56096FC}" destId="{CDE09CE3-A534-4D3E-997F-1E45A2C0F8FD}" srcOrd="0" destOrd="0" presId="urn:microsoft.com/office/officeart/2005/8/layout/process5"/>
    <dgm:cxn modelId="{6F573298-2D2B-41A1-9FF7-3E88629C1F22}" srcId="{F2F3D4FB-4F32-4544-9B28-CA81976AA6B2}" destId="{2CBC37CB-2ED0-469B-9DCD-2A4A58308989}" srcOrd="1" destOrd="0" parTransId="{80DF5519-2B58-402A-8D46-8E8C1A0459D6}" sibTransId="{DB2E1BC2-5574-41EA-ADDF-38FC7BA9D6FD}"/>
    <dgm:cxn modelId="{37F7569C-57BB-4D71-A874-DE6702D07C6A}" srcId="{F2F3D4FB-4F32-4544-9B28-CA81976AA6B2}" destId="{09008323-383E-421E-963C-DAA4C8D73535}" srcOrd="2" destOrd="0" parTransId="{60A7ABAB-4A93-4BFE-8BE7-9C5015BF4020}" sibTransId="{59619550-F0B4-423E-A6C4-6EAD98174A1B}"/>
    <dgm:cxn modelId="{B80390BC-2B9E-4936-83CA-0EBE88D9B511}" type="presOf" srcId="{DB2E1BC2-5574-41EA-ADDF-38FC7BA9D6FD}" destId="{CAD6CB11-138F-47F6-A748-3220785CA7DA}" srcOrd="0" destOrd="0" presId="urn:microsoft.com/office/officeart/2005/8/layout/process5"/>
    <dgm:cxn modelId="{CF12E0C1-67F9-4CEF-9099-F105259A6303}" type="presOf" srcId="{477A69BB-E083-406A-8B17-98E87A8B7AD8}" destId="{C125A991-CABE-4965-AF4C-DF59FEC3A98A}" srcOrd="0" destOrd="0" presId="urn:microsoft.com/office/officeart/2005/8/layout/process5"/>
    <dgm:cxn modelId="{30A4E8CF-94E2-45A2-9B24-B9076E7D68AC}" srcId="{F2F3D4FB-4F32-4544-9B28-CA81976AA6B2}" destId="{477A69BB-E083-406A-8B17-98E87A8B7AD8}" srcOrd="0" destOrd="0" parTransId="{F7D18E93-B6B0-4EE9-92F5-818FAB4EF52F}" sibTransId="{6F0DC772-0A6D-4463-95B6-AD2E0FB901DB}"/>
    <dgm:cxn modelId="{30FEEAD5-D15C-4DB4-A3DD-CCAA6624D046}" type="presOf" srcId="{6F0DC772-0A6D-4463-95B6-AD2E0FB901DB}" destId="{23EF6F4A-02D1-4D55-A655-0215B219BAF1}" srcOrd="0" destOrd="0" presId="urn:microsoft.com/office/officeart/2005/8/layout/process5"/>
    <dgm:cxn modelId="{F1A04FD7-F485-4D5A-8CE5-07A07576F2CF}" type="presOf" srcId="{2CBC37CB-2ED0-469B-9DCD-2A4A58308989}" destId="{029C8D2F-4D9F-4933-8F46-7AC05A09D477}" srcOrd="0" destOrd="0" presId="urn:microsoft.com/office/officeart/2005/8/layout/process5"/>
    <dgm:cxn modelId="{3718D5A6-033B-4F36-85C9-CC76064169F2}" type="presParOf" srcId="{E8218279-BAD5-4787-AB65-558EA5956FB2}" destId="{C125A991-CABE-4965-AF4C-DF59FEC3A98A}" srcOrd="0" destOrd="0" presId="urn:microsoft.com/office/officeart/2005/8/layout/process5"/>
    <dgm:cxn modelId="{2E73E1DF-EB10-4A36-8618-2471EF7C8761}" type="presParOf" srcId="{E8218279-BAD5-4787-AB65-558EA5956FB2}" destId="{23EF6F4A-02D1-4D55-A655-0215B219BAF1}" srcOrd="1" destOrd="0" presId="urn:microsoft.com/office/officeart/2005/8/layout/process5"/>
    <dgm:cxn modelId="{046BC6F8-170C-408F-854D-562790B63D24}" type="presParOf" srcId="{23EF6F4A-02D1-4D55-A655-0215B219BAF1}" destId="{274B7725-6E26-4336-B958-4DDF7BCE8CE8}" srcOrd="0" destOrd="0" presId="urn:microsoft.com/office/officeart/2005/8/layout/process5"/>
    <dgm:cxn modelId="{D189EE98-251B-4E9D-BB31-55E7B2D1CB9F}" type="presParOf" srcId="{E8218279-BAD5-4787-AB65-558EA5956FB2}" destId="{029C8D2F-4D9F-4933-8F46-7AC05A09D477}" srcOrd="2" destOrd="0" presId="urn:microsoft.com/office/officeart/2005/8/layout/process5"/>
    <dgm:cxn modelId="{78D83D7F-1A81-4C1C-8891-18D567539C50}" type="presParOf" srcId="{E8218279-BAD5-4787-AB65-558EA5956FB2}" destId="{CAD6CB11-138F-47F6-A748-3220785CA7DA}" srcOrd="3" destOrd="0" presId="urn:microsoft.com/office/officeart/2005/8/layout/process5"/>
    <dgm:cxn modelId="{AFFAFBFF-A89E-497D-B491-254008868E13}" type="presParOf" srcId="{CAD6CB11-138F-47F6-A748-3220785CA7DA}" destId="{731AA5E7-975E-4ABF-8609-01F003222494}" srcOrd="0" destOrd="0" presId="urn:microsoft.com/office/officeart/2005/8/layout/process5"/>
    <dgm:cxn modelId="{928407DB-7D7D-4153-996F-4E3CFDCD61BC}" type="presParOf" srcId="{E8218279-BAD5-4787-AB65-558EA5956FB2}" destId="{EAAAC3BC-4FB9-496A-91F3-E6C800E2ECD5}" srcOrd="4" destOrd="0" presId="urn:microsoft.com/office/officeart/2005/8/layout/process5"/>
    <dgm:cxn modelId="{95D60025-D47B-4FDC-8ABD-62CD510A48AD}" type="presParOf" srcId="{E8218279-BAD5-4787-AB65-558EA5956FB2}" destId="{F2A11637-943C-4094-925C-47448FCB5A08}" srcOrd="5" destOrd="0" presId="urn:microsoft.com/office/officeart/2005/8/layout/process5"/>
    <dgm:cxn modelId="{940D5FB6-EED4-45CA-9F23-4EAC77302E80}" type="presParOf" srcId="{F2A11637-943C-4094-925C-47448FCB5A08}" destId="{30EE1AE1-D04E-4EE5-B1E0-4C67A77F8A3B}" srcOrd="0" destOrd="0" presId="urn:microsoft.com/office/officeart/2005/8/layout/process5"/>
    <dgm:cxn modelId="{3D48F41B-27C1-48E1-8474-BDE1FB7A5AE8}" type="presParOf" srcId="{E8218279-BAD5-4787-AB65-558EA5956FB2}" destId="{ED424861-FDF2-4971-B755-3DDFA3A37132}" srcOrd="6" destOrd="0" presId="urn:microsoft.com/office/officeart/2005/8/layout/process5"/>
    <dgm:cxn modelId="{CEE683F9-49BD-4A57-8792-4F77A66C0FAF}" type="presParOf" srcId="{E8218279-BAD5-4787-AB65-558EA5956FB2}" destId="{D5A095A4-DFCC-4888-AB45-53F07D11D399}" srcOrd="7" destOrd="0" presId="urn:microsoft.com/office/officeart/2005/8/layout/process5"/>
    <dgm:cxn modelId="{6F5A3927-BEF6-472B-9E58-E7082C10F5F4}" type="presParOf" srcId="{D5A095A4-DFCC-4888-AB45-53F07D11D399}" destId="{57C1A6C8-0961-4FD8-907E-98C5EB96EB24}" srcOrd="0" destOrd="0" presId="urn:microsoft.com/office/officeart/2005/8/layout/process5"/>
    <dgm:cxn modelId="{33AA7345-7928-4C0A-B6CE-FCF5D7120E4F}" type="presParOf" srcId="{E8218279-BAD5-4787-AB65-558EA5956FB2}" destId="{631E0BC6-2AF5-40B8-8428-842911DBFAC2}" srcOrd="8" destOrd="0" presId="urn:microsoft.com/office/officeart/2005/8/layout/process5"/>
    <dgm:cxn modelId="{974F38E5-ED0D-47B7-813D-2DB7621CB274}" type="presParOf" srcId="{E8218279-BAD5-4787-AB65-558EA5956FB2}" destId="{BC5A8B22-3364-47BC-92DE-BEDCDB525A23}" srcOrd="9" destOrd="0" presId="urn:microsoft.com/office/officeart/2005/8/layout/process5"/>
    <dgm:cxn modelId="{51BE69F3-9CE9-4BE4-9C1F-D12B748D0B5F}" type="presParOf" srcId="{BC5A8B22-3364-47BC-92DE-BEDCDB525A23}" destId="{49F54F35-E070-4AB6-9CD7-2C768509E999}" srcOrd="0" destOrd="0" presId="urn:microsoft.com/office/officeart/2005/8/layout/process5"/>
    <dgm:cxn modelId="{393BF0CE-1013-4F8B-BAB7-6F5F80132926}" type="presParOf" srcId="{E8218279-BAD5-4787-AB65-558EA5956FB2}" destId="{CDE09CE3-A534-4D3E-997F-1E45A2C0F8FD}" srcOrd="10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82003A0-B422-4080-A8C5-116AC19EB713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32A1E12-CAD3-47C4-ADB1-F60FBCE76195}">
      <dgm:prSet/>
      <dgm:spPr/>
      <dgm:t>
        <a:bodyPr/>
        <a:lstStyle/>
        <a:p>
          <a:pPr rtl="0"/>
          <a:r>
            <a:rPr lang="en-US" dirty="0">
              <a:solidFill>
                <a:schemeClr val="tx1"/>
              </a:solidFill>
            </a:rPr>
            <a:t>Discuss issues in terms of benefits and costs/consequences</a:t>
          </a:r>
        </a:p>
        <a:p>
          <a:pPr rtl="0"/>
          <a:r>
            <a:rPr lang="en-US" dirty="0">
              <a:solidFill>
                <a:schemeClr val="tx1"/>
              </a:solidFill>
            </a:rPr>
            <a:t>(Of changing and not changing)</a:t>
          </a:r>
        </a:p>
      </dgm:t>
    </dgm:pt>
    <dgm:pt modelId="{839F2315-2A26-4CBD-B164-CAFC9A79208E}" type="parTrans" cxnId="{931BA127-59EC-41BC-B2EB-696E3FA0E66A}">
      <dgm:prSet/>
      <dgm:spPr/>
      <dgm:t>
        <a:bodyPr/>
        <a:lstStyle/>
        <a:p>
          <a:endParaRPr lang="en-US"/>
        </a:p>
      </dgm:t>
    </dgm:pt>
    <dgm:pt modelId="{573FFA2A-C8AB-4764-806F-F573DD286664}" type="sibTrans" cxnId="{931BA127-59EC-41BC-B2EB-696E3FA0E66A}">
      <dgm:prSet/>
      <dgm:spPr/>
      <dgm:t>
        <a:bodyPr/>
        <a:lstStyle/>
        <a:p>
          <a:endParaRPr lang="en-US"/>
        </a:p>
      </dgm:t>
    </dgm:pt>
    <dgm:pt modelId="{202AC137-82FC-4B04-97A2-43B8749B7633}">
      <dgm:prSet/>
      <dgm:spPr/>
      <dgm:t>
        <a:bodyPr/>
        <a:lstStyle/>
        <a:p>
          <a:pPr rtl="0"/>
          <a:r>
            <a:rPr lang="en-US" dirty="0">
              <a:solidFill>
                <a:schemeClr val="tx1"/>
              </a:solidFill>
            </a:rPr>
            <a:t>Harm reduction is not applied in imminent risk situations – worker needs to be assertive</a:t>
          </a:r>
        </a:p>
      </dgm:t>
    </dgm:pt>
    <dgm:pt modelId="{18FD0C74-069F-481C-8774-A930FB2AF867}" type="parTrans" cxnId="{81874A99-3AEE-4A8C-9CB8-F5498C85D516}">
      <dgm:prSet/>
      <dgm:spPr/>
      <dgm:t>
        <a:bodyPr/>
        <a:lstStyle/>
        <a:p>
          <a:endParaRPr lang="en-US"/>
        </a:p>
      </dgm:t>
    </dgm:pt>
    <dgm:pt modelId="{CAB91F49-12B1-41D4-8295-1A9F30A7A2C3}" type="sibTrans" cxnId="{81874A99-3AEE-4A8C-9CB8-F5498C85D516}">
      <dgm:prSet/>
      <dgm:spPr/>
      <dgm:t>
        <a:bodyPr/>
        <a:lstStyle/>
        <a:p>
          <a:endParaRPr lang="en-US"/>
        </a:p>
      </dgm:t>
    </dgm:pt>
    <dgm:pt modelId="{BB73555B-0135-46F7-B9D9-790BB0A19CD9}" type="pres">
      <dgm:prSet presAssocID="{A82003A0-B422-4080-A8C5-116AC19EB713}" presName="linear" presStyleCnt="0">
        <dgm:presLayoutVars>
          <dgm:dir/>
          <dgm:resizeHandles val="exact"/>
        </dgm:presLayoutVars>
      </dgm:prSet>
      <dgm:spPr/>
    </dgm:pt>
    <dgm:pt modelId="{62D7A523-0AED-4D37-825A-C8D6AD1DB56A}" type="pres">
      <dgm:prSet presAssocID="{732A1E12-CAD3-47C4-ADB1-F60FBCE76195}" presName="comp" presStyleCnt="0"/>
      <dgm:spPr/>
    </dgm:pt>
    <dgm:pt modelId="{A79D0381-800A-4EBD-91F9-2040F01B3C1E}" type="pres">
      <dgm:prSet presAssocID="{732A1E12-CAD3-47C4-ADB1-F60FBCE76195}" presName="box" presStyleLbl="node1" presStyleIdx="0" presStyleCnt="2"/>
      <dgm:spPr/>
    </dgm:pt>
    <dgm:pt modelId="{449E5FCC-3CB9-4BD1-BF94-24FB2FE993AF}" type="pres">
      <dgm:prSet presAssocID="{732A1E12-CAD3-47C4-ADB1-F60FBCE76195}" presName="img" presStyleLbl="fgImgPlac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0" b="-50000"/>
          </a:stretch>
        </a:blipFill>
      </dgm:spPr>
    </dgm:pt>
    <dgm:pt modelId="{55C14EF5-74C6-416A-9EE2-486151106AD2}" type="pres">
      <dgm:prSet presAssocID="{732A1E12-CAD3-47C4-ADB1-F60FBCE76195}" presName="text" presStyleLbl="node1" presStyleIdx="0" presStyleCnt="2">
        <dgm:presLayoutVars>
          <dgm:bulletEnabled val="1"/>
        </dgm:presLayoutVars>
      </dgm:prSet>
      <dgm:spPr/>
    </dgm:pt>
    <dgm:pt modelId="{D7C445FA-5C88-42A8-B376-2055BFB88AE2}" type="pres">
      <dgm:prSet presAssocID="{573FFA2A-C8AB-4764-806F-F573DD286664}" presName="spacer" presStyleCnt="0"/>
      <dgm:spPr/>
    </dgm:pt>
    <dgm:pt modelId="{892E815F-FAC0-4FE1-8973-D482FACFD1CC}" type="pres">
      <dgm:prSet presAssocID="{202AC137-82FC-4B04-97A2-43B8749B7633}" presName="comp" presStyleCnt="0"/>
      <dgm:spPr/>
    </dgm:pt>
    <dgm:pt modelId="{D9EFF448-8A8B-4A03-A068-98D96940AA45}" type="pres">
      <dgm:prSet presAssocID="{202AC137-82FC-4B04-97A2-43B8749B7633}" presName="box" presStyleLbl="node1" presStyleIdx="1" presStyleCnt="2"/>
      <dgm:spPr/>
    </dgm:pt>
    <dgm:pt modelId="{9C1A9DF6-2307-4576-8D4C-3755AFDC1EF2}" type="pres">
      <dgm:prSet presAssocID="{202AC137-82FC-4B04-97A2-43B8749B7633}" presName="img" presStyleLbl="fgImgPlace1" presStyleIdx="1" presStyleCnt="2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62000" b="-62000"/>
          </a:stretch>
        </a:blipFill>
      </dgm:spPr>
    </dgm:pt>
    <dgm:pt modelId="{C1621EFC-193D-43DD-B070-C0611FB58905}" type="pres">
      <dgm:prSet presAssocID="{202AC137-82FC-4B04-97A2-43B8749B7633}" presName="text" presStyleLbl="node1" presStyleIdx="1" presStyleCnt="2">
        <dgm:presLayoutVars>
          <dgm:bulletEnabled val="1"/>
        </dgm:presLayoutVars>
      </dgm:prSet>
      <dgm:spPr/>
    </dgm:pt>
  </dgm:ptLst>
  <dgm:cxnLst>
    <dgm:cxn modelId="{630F131F-5F36-4A78-B686-3C8E8E6F61C5}" type="presOf" srcId="{732A1E12-CAD3-47C4-ADB1-F60FBCE76195}" destId="{A79D0381-800A-4EBD-91F9-2040F01B3C1E}" srcOrd="0" destOrd="0" presId="urn:microsoft.com/office/officeart/2005/8/layout/vList4"/>
    <dgm:cxn modelId="{931BA127-59EC-41BC-B2EB-696E3FA0E66A}" srcId="{A82003A0-B422-4080-A8C5-116AC19EB713}" destId="{732A1E12-CAD3-47C4-ADB1-F60FBCE76195}" srcOrd="0" destOrd="0" parTransId="{839F2315-2A26-4CBD-B164-CAFC9A79208E}" sibTransId="{573FFA2A-C8AB-4764-806F-F573DD286664}"/>
    <dgm:cxn modelId="{12E8362A-433C-4AFD-AD94-0FF6B31CD2C1}" type="presOf" srcId="{202AC137-82FC-4B04-97A2-43B8749B7633}" destId="{D9EFF448-8A8B-4A03-A068-98D96940AA45}" srcOrd="0" destOrd="0" presId="urn:microsoft.com/office/officeart/2005/8/layout/vList4"/>
    <dgm:cxn modelId="{81874A99-3AEE-4A8C-9CB8-F5498C85D516}" srcId="{A82003A0-B422-4080-A8C5-116AC19EB713}" destId="{202AC137-82FC-4B04-97A2-43B8749B7633}" srcOrd="1" destOrd="0" parTransId="{18FD0C74-069F-481C-8774-A930FB2AF867}" sibTransId="{CAB91F49-12B1-41D4-8295-1A9F30A7A2C3}"/>
    <dgm:cxn modelId="{69D36CA2-9F61-45C4-B8FC-8438B4765891}" type="presOf" srcId="{202AC137-82FC-4B04-97A2-43B8749B7633}" destId="{C1621EFC-193D-43DD-B070-C0611FB58905}" srcOrd="1" destOrd="0" presId="urn:microsoft.com/office/officeart/2005/8/layout/vList4"/>
    <dgm:cxn modelId="{7F344AB1-5CBE-4BC7-984B-9C827695D267}" type="presOf" srcId="{732A1E12-CAD3-47C4-ADB1-F60FBCE76195}" destId="{55C14EF5-74C6-416A-9EE2-486151106AD2}" srcOrd="1" destOrd="0" presId="urn:microsoft.com/office/officeart/2005/8/layout/vList4"/>
    <dgm:cxn modelId="{72BE21BC-7337-461D-9B03-93A0100954FA}" type="presOf" srcId="{A82003A0-B422-4080-A8C5-116AC19EB713}" destId="{BB73555B-0135-46F7-B9D9-790BB0A19CD9}" srcOrd="0" destOrd="0" presId="urn:microsoft.com/office/officeart/2005/8/layout/vList4"/>
    <dgm:cxn modelId="{9263CFBB-08B4-4061-9E59-8AB6A42E86C1}" type="presParOf" srcId="{BB73555B-0135-46F7-B9D9-790BB0A19CD9}" destId="{62D7A523-0AED-4D37-825A-C8D6AD1DB56A}" srcOrd="0" destOrd="0" presId="urn:microsoft.com/office/officeart/2005/8/layout/vList4"/>
    <dgm:cxn modelId="{EA29B64D-D155-4F0B-AC52-E967BF4DB0E1}" type="presParOf" srcId="{62D7A523-0AED-4D37-825A-C8D6AD1DB56A}" destId="{A79D0381-800A-4EBD-91F9-2040F01B3C1E}" srcOrd="0" destOrd="0" presId="urn:microsoft.com/office/officeart/2005/8/layout/vList4"/>
    <dgm:cxn modelId="{ECE87DD5-1DF4-4B01-99AD-3E0300E8A0C4}" type="presParOf" srcId="{62D7A523-0AED-4D37-825A-C8D6AD1DB56A}" destId="{449E5FCC-3CB9-4BD1-BF94-24FB2FE993AF}" srcOrd="1" destOrd="0" presId="urn:microsoft.com/office/officeart/2005/8/layout/vList4"/>
    <dgm:cxn modelId="{F0F9D5F0-6EA8-4720-8859-93642F4359D3}" type="presParOf" srcId="{62D7A523-0AED-4D37-825A-C8D6AD1DB56A}" destId="{55C14EF5-74C6-416A-9EE2-486151106AD2}" srcOrd="2" destOrd="0" presId="urn:microsoft.com/office/officeart/2005/8/layout/vList4"/>
    <dgm:cxn modelId="{3D6A0BA9-8F14-4555-BF38-DFD839B44AA1}" type="presParOf" srcId="{BB73555B-0135-46F7-B9D9-790BB0A19CD9}" destId="{D7C445FA-5C88-42A8-B376-2055BFB88AE2}" srcOrd="1" destOrd="0" presId="urn:microsoft.com/office/officeart/2005/8/layout/vList4"/>
    <dgm:cxn modelId="{9F3732B7-BDCA-441E-8647-7990F321B342}" type="presParOf" srcId="{BB73555B-0135-46F7-B9D9-790BB0A19CD9}" destId="{892E815F-FAC0-4FE1-8973-D482FACFD1CC}" srcOrd="2" destOrd="0" presId="urn:microsoft.com/office/officeart/2005/8/layout/vList4"/>
    <dgm:cxn modelId="{DE7D619F-12BF-43BB-A5B9-ABA91918F612}" type="presParOf" srcId="{892E815F-FAC0-4FE1-8973-D482FACFD1CC}" destId="{D9EFF448-8A8B-4A03-A068-98D96940AA45}" srcOrd="0" destOrd="0" presId="urn:microsoft.com/office/officeart/2005/8/layout/vList4"/>
    <dgm:cxn modelId="{91F5BB44-BAA6-4A50-BF8F-BD7CBCC8BD0A}" type="presParOf" srcId="{892E815F-FAC0-4FE1-8973-D482FACFD1CC}" destId="{9C1A9DF6-2307-4576-8D4C-3755AFDC1EF2}" srcOrd="1" destOrd="0" presId="urn:microsoft.com/office/officeart/2005/8/layout/vList4"/>
    <dgm:cxn modelId="{F4E2C713-6C22-4093-9E94-291D93E41097}" type="presParOf" srcId="{892E815F-FAC0-4FE1-8973-D482FACFD1CC}" destId="{C1621EFC-193D-43DD-B070-C0611FB58905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5E12883A-24FF-481F-81D5-BAA710E2A7E1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1584E4DF-62B0-44D5-9D8E-BE21C26E2FBB}">
      <dgm:prSet custT="1"/>
      <dgm:spPr/>
      <dgm:t>
        <a:bodyPr/>
        <a:lstStyle/>
        <a:p>
          <a:pPr rtl="0"/>
          <a:r>
            <a:rPr lang="en-US" sz="2000" dirty="0">
              <a:solidFill>
                <a:schemeClr val="tx1"/>
              </a:solidFill>
            </a:rPr>
            <a:t>The expectations of a lease or the community do not change and apply to everyone</a:t>
          </a:r>
        </a:p>
      </dgm:t>
    </dgm:pt>
    <dgm:pt modelId="{DC571B9D-14AB-4F08-9F0E-24AE2A065ADB}" type="parTrans" cxnId="{EDB471FC-9D02-461D-96C2-6169372FDC36}">
      <dgm:prSet/>
      <dgm:spPr/>
      <dgm:t>
        <a:bodyPr/>
        <a:lstStyle/>
        <a:p>
          <a:endParaRPr lang="en-US"/>
        </a:p>
      </dgm:t>
    </dgm:pt>
    <dgm:pt modelId="{029435C0-7EE6-4416-848E-1AC149905951}" type="sibTrans" cxnId="{EDB471FC-9D02-461D-96C2-6169372FDC36}">
      <dgm:prSet/>
      <dgm:spPr/>
      <dgm:t>
        <a:bodyPr/>
        <a:lstStyle/>
        <a:p>
          <a:endParaRPr lang="en-US"/>
        </a:p>
      </dgm:t>
    </dgm:pt>
    <dgm:pt modelId="{5ECE98CA-1DCB-4D5B-A439-1E8763692C64}">
      <dgm:prSet/>
      <dgm:spPr/>
      <dgm:t>
        <a:bodyPr/>
        <a:lstStyle/>
        <a:p>
          <a:pPr rtl="0"/>
          <a:r>
            <a:rPr lang="en-US" dirty="0">
              <a:solidFill>
                <a:schemeClr val="tx1"/>
              </a:solidFill>
            </a:rPr>
            <a:t>Conditions of the lease must be made clear and consistently enforced</a:t>
          </a:r>
        </a:p>
      </dgm:t>
    </dgm:pt>
    <dgm:pt modelId="{BFCB6A13-1F8B-4402-8853-2BA5B43C809D}" type="parTrans" cxnId="{A6DC2A00-C92F-40A9-B90B-644D4D783799}">
      <dgm:prSet/>
      <dgm:spPr/>
      <dgm:t>
        <a:bodyPr/>
        <a:lstStyle/>
        <a:p>
          <a:endParaRPr lang="en-US"/>
        </a:p>
      </dgm:t>
    </dgm:pt>
    <dgm:pt modelId="{5CE5FD29-9643-485B-98E6-3E215EB5ED72}" type="sibTrans" cxnId="{A6DC2A00-C92F-40A9-B90B-644D4D783799}">
      <dgm:prSet/>
      <dgm:spPr/>
      <dgm:t>
        <a:bodyPr/>
        <a:lstStyle/>
        <a:p>
          <a:endParaRPr lang="en-US"/>
        </a:p>
      </dgm:t>
    </dgm:pt>
    <dgm:pt modelId="{B3B09508-5ED5-4C23-8D7E-6B16C730C8BA}">
      <dgm:prSet/>
      <dgm:spPr/>
      <dgm:t>
        <a:bodyPr/>
        <a:lstStyle/>
        <a:p>
          <a:pPr rtl="0"/>
          <a:r>
            <a:rPr lang="en-US" dirty="0">
              <a:solidFill>
                <a:schemeClr val="tx1"/>
              </a:solidFill>
            </a:rPr>
            <a:t>Lease violation issues will often be a reason to seek services</a:t>
          </a:r>
        </a:p>
      </dgm:t>
    </dgm:pt>
    <dgm:pt modelId="{6B65CFA4-4B5C-4F74-8D69-92B80DED3A13}" type="parTrans" cxnId="{572F74DA-6E91-4F60-8975-C6EA09C02D3F}">
      <dgm:prSet/>
      <dgm:spPr/>
      <dgm:t>
        <a:bodyPr/>
        <a:lstStyle/>
        <a:p>
          <a:endParaRPr lang="en-US"/>
        </a:p>
      </dgm:t>
    </dgm:pt>
    <dgm:pt modelId="{465279EF-83DE-4128-8EC3-EBE02C7A183D}" type="sibTrans" cxnId="{572F74DA-6E91-4F60-8975-C6EA09C02D3F}">
      <dgm:prSet/>
      <dgm:spPr/>
      <dgm:t>
        <a:bodyPr/>
        <a:lstStyle/>
        <a:p>
          <a:endParaRPr lang="en-US"/>
        </a:p>
      </dgm:t>
    </dgm:pt>
    <dgm:pt modelId="{DCD2F805-70C4-4D40-842F-A3D946B7B541}">
      <dgm:prSet/>
      <dgm:spPr/>
      <dgm:t>
        <a:bodyPr/>
        <a:lstStyle/>
        <a:p>
          <a:pPr rtl="0"/>
          <a:r>
            <a:rPr lang="en-US" dirty="0">
              <a:solidFill>
                <a:schemeClr val="tx1"/>
              </a:solidFill>
            </a:rPr>
            <a:t>Workers focus on BEHAVIORS that interfere with functioning as a tenant and as a member of the community</a:t>
          </a:r>
        </a:p>
      </dgm:t>
    </dgm:pt>
    <dgm:pt modelId="{AF00703F-31CB-4DD7-AFCA-D81A3FAD0184}" type="parTrans" cxnId="{5D536F7A-A790-4922-A38C-1109BBFA2F70}">
      <dgm:prSet/>
      <dgm:spPr/>
      <dgm:t>
        <a:bodyPr/>
        <a:lstStyle/>
        <a:p>
          <a:endParaRPr lang="en-US"/>
        </a:p>
      </dgm:t>
    </dgm:pt>
    <dgm:pt modelId="{8217F878-2CCF-4D12-AD70-D2EA1B62B507}" type="sibTrans" cxnId="{5D536F7A-A790-4922-A38C-1109BBFA2F70}">
      <dgm:prSet/>
      <dgm:spPr/>
      <dgm:t>
        <a:bodyPr/>
        <a:lstStyle/>
        <a:p>
          <a:endParaRPr lang="en-US"/>
        </a:p>
      </dgm:t>
    </dgm:pt>
    <dgm:pt modelId="{B3CB9131-3C13-4211-9DA2-C378935FA739}" type="pres">
      <dgm:prSet presAssocID="{5E12883A-24FF-481F-81D5-BAA710E2A7E1}" presName="Name0" presStyleCnt="0">
        <dgm:presLayoutVars>
          <dgm:dir/>
          <dgm:resizeHandles val="exact"/>
        </dgm:presLayoutVars>
      </dgm:prSet>
      <dgm:spPr/>
    </dgm:pt>
    <dgm:pt modelId="{6B6C01D5-7DCE-4F96-B09B-AA397381EFF2}" type="pres">
      <dgm:prSet presAssocID="{1584E4DF-62B0-44D5-9D8E-BE21C26E2FBB}" presName="composite" presStyleCnt="0"/>
      <dgm:spPr/>
    </dgm:pt>
    <dgm:pt modelId="{FD18B049-D67B-4988-9344-A3EBDCD3147F}" type="pres">
      <dgm:prSet presAssocID="{1584E4DF-62B0-44D5-9D8E-BE21C26E2FBB}" presName="rect1" presStyleLbl="trAlignAcc1" presStyleIdx="0" presStyleCnt="4">
        <dgm:presLayoutVars>
          <dgm:bulletEnabled val="1"/>
        </dgm:presLayoutVars>
      </dgm:prSet>
      <dgm:spPr/>
    </dgm:pt>
    <dgm:pt modelId="{620BAEB3-1038-4BB1-80E8-D7524423D0B4}" type="pres">
      <dgm:prSet presAssocID="{1584E4DF-62B0-44D5-9D8E-BE21C26E2FBB}" presName="rect2" presStyleLbl="fgImgPlac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22000" r="-122000"/>
          </a:stretch>
        </a:blipFill>
      </dgm:spPr>
    </dgm:pt>
    <dgm:pt modelId="{CBC8CEBE-1CC2-4564-8DAE-963E77A43D55}" type="pres">
      <dgm:prSet presAssocID="{029435C0-7EE6-4416-848E-1AC149905951}" presName="sibTrans" presStyleCnt="0"/>
      <dgm:spPr/>
    </dgm:pt>
    <dgm:pt modelId="{AB66D64C-FEB3-4219-A48F-80A7FD776B32}" type="pres">
      <dgm:prSet presAssocID="{5ECE98CA-1DCB-4D5B-A439-1E8763692C64}" presName="composite" presStyleCnt="0"/>
      <dgm:spPr/>
    </dgm:pt>
    <dgm:pt modelId="{31128A02-72C3-4F56-9410-596AB9F59699}" type="pres">
      <dgm:prSet presAssocID="{5ECE98CA-1DCB-4D5B-A439-1E8763692C64}" presName="rect1" presStyleLbl="trAlignAcc1" presStyleIdx="1" presStyleCnt="4">
        <dgm:presLayoutVars>
          <dgm:bulletEnabled val="1"/>
        </dgm:presLayoutVars>
      </dgm:prSet>
      <dgm:spPr/>
    </dgm:pt>
    <dgm:pt modelId="{0040D460-467A-47B4-B44E-2E2EE072AC0A}" type="pres">
      <dgm:prSet presAssocID="{5ECE98CA-1DCB-4D5B-A439-1E8763692C64}" presName="rect2" presStyleLbl="fgImgPlace1" presStyleIdx="1" presStyleCnt="4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6000" r="-26000"/>
          </a:stretch>
        </a:blipFill>
      </dgm:spPr>
    </dgm:pt>
    <dgm:pt modelId="{500E5EE6-C48B-4D17-B3E3-2B1DAA292E86}" type="pres">
      <dgm:prSet presAssocID="{5CE5FD29-9643-485B-98E6-3E215EB5ED72}" presName="sibTrans" presStyleCnt="0"/>
      <dgm:spPr/>
    </dgm:pt>
    <dgm:pt modelId="{16CF2551-957E-4F29-A1D7-B564EB4122E4}" type="pres">
      <dgm:prSet presAssocID="{B3B09508-5ED5-4C23-8D7E-6B16C730C8BA}" presName="composite" presStyleCnt="0"/>
      <dgm:spPr/>
    </dgm:pt>
    <dgm:pt modelId="{E42E9B22-F1C4-4F93-87A5-8D780CEF27F0}" type="pres">
      <dgm:prSet presAssocID="{B3B09508-5ED5-4C23-8D7E-6B16C730C8BA}" presName="rect1" presStyleLbl="trAlignAcc1" presStyleIdx="2" presStyleCnt="4">
        <dgm:presLayoutVars>
          <dgm:bulletEnabled val="1"/>
        </dgm:presLayoutVars>
      </dgm:prSet>
      <dgm:spPr/>
    </dgm:pt>
    <dgm:pt modelId="{67297E58-9494-4269-BE77-C78C69776EDE}" type="pres">
      <dgm:prSet presAssocID="{B3B09508-5ED5-4C23-8D7E-6B16C730C8BA}" presName="rect2" presStyleLbl="fgImgPlace1" presStyleIdx="2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8000" r="-68000"/>
          </a:stretch>
        </a:blipFill>
      </dgm:spPr>
    </dgm:pt>
    <dgm:pt modelId="{313FDC46-78FF-4810-8579-0917C044FC04}" type="pres">
      <dgm:prSet presAssocID="{465279EF-83DE-4128-8EC3-EBE02C7A183D}" presName="sibTrans" presStyleCnt="0"/>
      <dgm:spPr/>
    </dgm:pt>
    <dgm:pt modelId="{5299C34A-E205-4C25-B295-1643170271EE}" type="pres">
      <dgm:prSet presAssocID="{DCD2F805-70C4-4D40-842F-A3D946B7B541}" presName="composite" presStyleCnt="0"/>
      <dgm:spPr/>
    </dgm:pt>
    <dgm:pt modelId="{0BB3D960-5D1C-413F-9442-F795D0E0A4CD}" type="pres">
      <dgm:prSet presAssocID="{DCD2F805-70C4-4D40-842F-A3D946B7B541}" presName="rect1" presStyleLbl="trAlignAcc1" presStyleIdx="3" presStyleCnt="4">
        <dgm:presLayoutVars>
          <dgm:bulletEnabled val="1"/>
        </dgm:presLayoutVars>
      </dgm:prSet>
      <dgm:spPr/>
    </dgm:pt>
    <dgm:pt modelId="{A6EC5B37-DCA6-48E9-857A-142FDCF33370}" type="pres">
      <dgm:prSet presAssocID="{DCD2F805-70C4-4D40-842F-A3D946B7B541}" presName="rect2" presStyleLbl="fgImgPlace1" presStyleIdx="3" presStyleCnt="4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0000" r="-50000"/>
          </a:stretch>
        </a:blipFill>
      </dgm:spPr>
    </dgm:pt>
  </dgm:ptLst>
  <dgm:cxnLst>
    <dgm:cxn modelId="{A6DC2A00-C92F-40A9-B90B-644D4D783799}" srcId="{5E12883A-24FF-481F-81D5-BAA710E2A7E1}" destId="{5ECE98CA-1DCB-4D5B-A439-1E8763692C64}" srcOrd="1" destOrd="0" parTransId="{BFCB6A13-1F8B-4402-8853-2BA5B43C809D}" sibTransId="{5CE5FD29-9643-485B-98E6-3E215EB5ED72}"/>
    <dgm:cxn modelId="{FFC64F09-98D3-4AA1-8294-363BC63D2A2F}" type="presOf" srcId="{5E12883A-24FF-481F-81D5-BAA710E2A7E1}" destId="{B3CB9131-3C13-4211-9DA2-C378935FA739}" srcOrd="0" destOrd="0" presId="urn:microsoft.com/office/officeart/2008/layout/PictureStrips"/>
    <dgm:cxn modelId="{1B58D050-FE65-446C-8B67-050BBBABF655}" type="presOf" srcId="{5ECE98CA-1DCB-4D5B-A439-1E8763692C64}" destId="{31128A02-72C3-4F56-9410-596AB9F59699}" srcOrd="0" destOrd="0" presId="urn:microsoft.com/office/officeart/2008/layout/PictureStrips"/>
    <dgm:cxn modelId="{5D536F7A-A790-4922-A38C-1109BBFA2F70}" srcId="{5E12883A-24FF-481F-81D5-BAA710E2A7E1}" destId="{DCD2F805-70C4-4D40-842F-A3D946B7B541}" srcOrd="3" destOrd="0" parTransId="{AF00703F-31CB-4DD7-AFCA-D81A3FAD0184}" sibTransId="{8217F878-2CCF-4D12-AD70-D2EA1B62B507}"/>
    <dgm:cxn modelId="{A1316989-5D86-4813-B195-BB89D570837A}" type="presOf" srcId="{DCD2F805-70C4-4D40-842F-A3D946B7B541}" destId="{0BB3D960-5D1C-413F-9442-F795D0E0A4CD}" srcOrd="0" destOrd="0" presId="urn:microsoft.com/office/officeart/2008/layout/PictureStrips"/>
    <dgm:cxn modelId="{A0D810A2-7853-457D-AC59-3AB1E294FB6F}" type="presOf" srcId="{B3B09508-5ED5-4C23-8D7E-6B16C730C8BA}" destId="{E42E9B22-F1C4-4F93-87A5-8D780CEF27F0}" srcOrd="0" destOrd="0" presId="urn:microsoft.com/office/officeart/2008/layout/PictureStrips"/>
    <dgm:cxn modelId="{572F74DA-6E91-4F60-8975-C6EA09C02D3F}" srcId="{5E12883A-24FF-481F-81D5-BAA710E2A7E1}" destId="{B3B09508-5ED5-4C23-8D7E-6B16C730C8BA}" srcOrd="2" destOrd="0" parTransId="{6B65CFA4-4B5C-4F74-8D69-92B80DED3A13}" sibTransId="{465279EF-83DE-4128-8EC3-EBE02C7A183D}"/>
    <dgm:cxn modelId="{B6CE98E6-AF44-43F4-8AE8-35761DAB2783}" type="presOf" srcId="{1584E4DF-62B0-44D5-9D8E-BE21C26E2FBB}" destId="{FD18B049-D67B-4988-9344-A3EBDCD3147F}" srcOrd="0" destOrd="0" presId="urn:microsoft.com/office/officeart/2008/layout/PictureStrips"/>
    <dgm:cxn modelId="{EDB471FC-9D02-461D-96C2-6169372FDC36}" srcId="{5E12883A-24FF-481F-81D5-BAA710E2A7E1}" destId="{1584E4DF-62B0-44D5-9D8E-BE21C26E2FBB}" srcOrd="0" destOrd="0" parTransId="{DC571B9D-14AB-4F08-9F0E-24AE2A065ADB}" sibTransId="{029435C0-7EE6-4416-848E-1AC149905951}"/>
    <dgm:cxn modelId="{E03A5847-2977-49AA-8487-8908B3D2193C}" type="presParOf" srcId="{B3CB9131-3C13-4211-9DA2-C378935FA739}" destId="{6B6C01D5-7DCE-4F96-B09B-AA397381EFF2}" srcOrd="0" destOrd="0" presId="urn:microsoft.com/office/officeart/2008/layout/PictureStrips"/>
    <dgm:cxn modelId="{0658CB84-15A7-4493-9AC4-05CECE91AF10}" type="presParOf" srcId="{6B6C01D5-7DCE-4F96-B09B-AA397381EFF2}" destId="{FD18B049-D67B-4988-9344-A3EBDCD3147F}" srcOrd="0" destOrd="0" presId="urn:microsoft.com/office/officeart/2008/layout/PictureStrips"/>
    <dgm:cxn modelId="{28DA0A16-9E5B-4817-B5A9-C82C44DCCA1B}" type="presParOf" srcId="{6B6C01D5-7DCE-4F96-B09B-AA397381EFF2}" destId="{620BAEB3-1038-4BB1-80E8-D7524423D0B4}" srcOrd="1" destOrd="0" presId="urn:microsoft.com/office/officeart/2008/layout/PictureStrips"/>
    <dgm:cxn modelId="{6F47E56C-C06B-4207-A1AC-7302D9A02B13}" type="presParOf" srcId="{B3CB9131-3C13-4211-9DA2-C378935FA739}" destId="{CBC8CEBE-1CC2-4564-8DAE-963E77A43D55}" srcOrd="1" destOrd="0" presId="urn:microsoft.com/office/officeart/2008/layout/PictureStrips"/>
    <dgm:cxn modelId="{7F6A9173-1D2B-4431-9220-B8B96DF30827}" type="presParOf" srcId="{B3CB9131-3C13-4211-9DA2-C378935FA739}" destId="{AB66D64C-FEB3-4219-A48F-80A7FD776B32}" srcOrd="2" destOrd="0" presId="urn:microsoft.com/office/officeart/2008/layout/PictureStrips"/>
    <dgm:cxn modelId="{66651327-6539-4EB9-AA3D-49826794A70C}" type="presParOf" srcId="{AB66D64C-FEB3-4219-A48F-80A7FD776B32}" destId="{31128A02-72C3-4F56-9410-596AB9F59699}" srcOrd="0" destOrd="0" presId="urn:microsoft.com/office/officeart/2008/layout/PictureStrips"/>
    <dgm:cxn modelId="{A27BB375-F830-4708-B18E-F8D2DA221195}" type="presParOf" srcId="{AB66D64C-FEB3-4219-A48F-80A7FD776B32}" destId="{0040D460-467A-47B4-B44E-2E2EE072AC0A}" srcOrd="1" destOrd="0" presId="urn:microsoft.com/office/officeart/2008/layout/PictureStrips"/>
    <dgm:cxn modelId="{5DDD6766-5C6A-4B17-9C79-F5587FC0DB1E}" type="presParOf" srcId="{B3CB9131-3C13-4211-9DA2-C378935FA739}" destId="{500E5EE6-C48B-4D17-B3E3-2B1DAA292E86}" srcOrd="3" destOrd="0" presId="urn:microsoft.com/office/officeart/2008/layout/PictureStrips"/>
    <dgm:cxn modelId="{471CB5C8-853C-416F-ABC8-0079AD7D83F3}" type="presParOf" srcId="{B3CB9131-3C13-4211-9DA2-C378935FA739}" destId="{16CF2551-957E-4F29-A1D7-B564EB4122E4}" srcOrd="4" destOrd="0" presId="urn:microsoft.com/office/officeart/2008/layout/PictureStrips"/>
    <dgm:cxn modelId="{B13B4DA0-6F27-4CB5-A580-FCFF6EC42CBE}" type="presParOf" srcId="{16CF2551-957E-4F29-A1D7-B564EB4122E4}" destId="{E42E9B22-F1C4-4F93-87A5-8D780CEF27F0}" srcOrd="0" destOrd="0" presId="urn:microsoft.com/office/officeart/2008/layout/PictureStrips"/>
    <dgm:cxn modelId="{AAA71DAE-E583-4947-A88F-0D9DC0536440}" type="presParOf" srcId="{16CF2551-957E-4F29-A1D7-B564EB4122E4}" destId="{67297E58-9494-4269-BE77-C78C69776EDE}" srcOrd="1" destOrd="0" presId="urn:microsoft.com/office/officeart/2008/layout/PictureStrips"/>
    <dgm:cxn modelId="{0243EA89-570B-489B-BC9E-ACB16CB784A5}" type="presParOf" srcId="{B3CB9131-3C13-4211-9DA2-C378935FA739}" destId="{313FDC46-78FF-4810-8579-0917C044FC04}" srcOrd="5" destOrd="0" presId="urn:microsoft.com/office/officeart/2008/layout/PictureStrips"/>
    <dgm:cxn modelId="{E21EFD53-0BC4-4B14-B3EE-618E6038B372}" type="presParOf" srcId="{B3CB9131-3C13-4211-9DA2-C378935FA739}" destId="{5299C34A-E205-4C25-B295-1643170271EE}" srcOrd="6" destOrd="0" presId="urn:microsoft.com/office/officeart/2008/layout/PictureStrips"/>
    <dgm:cxn modelId="{F9ACF018-AD93-4604-8F79-61D5236EDB86}" type="presParOf" srcId="{5299C34A-E205-4C25-B295-1643170271EE}" destId="{0BB3D960-5D1C-413F-9442-F795D0E0A4CD}" srcOrd="0" destOrd="0" presId="urn:microsoft.com/office/officeart/2008/layout/PictureStrips"/>
    <dgm:cxn modelId="{906C204F-8D51-493B-BA4B-2E7E7E92BDC6}" type="presParOf" srcId="{5299C34A-E205-4C25-B295-1643170271EE}" destId="{A6EC5B37-DCA6-48E9-857A-142FDCF33370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A03CD93F-E817-4CDF-9B4B-26A88457743C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D3E4E87-C2B8-4E5E-B792-2C387A9FDDEA}">
      <dgm:prSet custT="1"/>
      <dgm:spPr/>
      <dgm:t>
        <a:bodyPr/>
        <a:lstStyle/>
        <a:p>
          <a:pPr rtl="0"/>
          <a:r>
            <a:rPr lang="en-US" sz="2000" dirty="0">
              <a:solidFill>
                <a:schemeClr val="tx1"/>
              </a:solidFill>
            </a:rPr>
            <a:t>Right to live in decent, safe, and sanitary housing free from environmental hazards such as lead based paint</a:t>
          </a:r>
        </a:p>
      </dgm:t>
    </dgm:pt>
    <dgm:pt modelId="{C72C92B2-3123-4A4D-89ED-EB696C2ADF22}" type="parTrans" cxnId="{EE74EA74-EFB1-456E-9A18-A35BC35EADF1}">
      <dgm:prSet/>
      <dgm:spPr/>
      <dgm:t>
        <a:bodyPr/>
        <a:lstStyle/>
        <a:p>
          <a:endParaRPr lang="en-US"/>
        </a:p>
      </dgm:t>
    </dgm:pt>
    <dgm:pt modelId="{2FF409DE-580E-4629-9FA7-15E787B6BA7B}" type="sibTrans" cxnId="{EE74EA74-EFB1-456E-9A18-A35BC35EADF1}">
      <dgm:prSet/>
      <dgm:spPr/>
      <dgm:t>
        <a:bodyPr/>
        <a:lstStyle/>
        <a:p>
          <a:endParaRPr lang="en-US"/>
        </a:p>
      </dgm:t>
    </dgm:pt>
    <dgm:pt modelId="{CC877FBF-1C9A-47F2-8E3E-0EDADF109115}">
      <dgm:prSet custT="1"/>
      <dgm:spPr/>
      <dgm:t>
        <a:bodyPr/>
        <a:lstStyle/>
        <a:p>
          <a:pPr rtl="0"/>
          <a:r>
            <a:rPr lang="en-US" sz="2000" dirty="0">
              <a:solidFill>
                <a:schemeClr val="tx1"/>
              </a:solidFill>
            </a:rPr>
            <a:t>Right to have repairs in</a:t>
          </a:r>
          <a:r>
            <a:rPr lang="en-US" sz="2000" dirty="0">
              <a:solidFill>
                <a:schemeClr val="bg2"/>
              </a:solidFill>
            </a:rPr>
            <a:t> </a:t>
          </a:r>
          <a:r>
            <a:rPr lang="en-US" sz="2000" dirty="0">
              <a:solidFill>
                <a:schemeClr val="tx1"/>
              </a:solidFill>
            </a:rPr>
            <a:t>a timely manner</a:t>
          </a:r>
        </a:p>
      </dgm:t>
    </dgm:pt>
    <dgm:pt modelId="{7F8267AA-01A7-45F2-ACBD-BC453FD47776}" type="parTrans" cxnId="{9206F9F0-9591-4D96-90D8-A1E4972B86F2}">
      <dgm:prSet/>
      <dgm:spPr/>
      <dgm:t>
        <a:bodyPr/>
        <a:lstStyle/>
        <a:p>
          <a:endParaRPr lang="en-US"/>
        </a:p>
      </dgm:t>
    </dgm:pt>
    <dgm:pt modelId="{45C18151-92FC-49D6-93F8-B43142EECDAD}" type="sibTrans" cxnId="{9206F9F0-9591-4D96-90D8-A1E4972B86F2}">
      <dgm:prSet/>
      <dgm:spPr/>
      <dgm:t>
        <a:bodyPr/>
        <a:lstStyle/>
        <a:p>
          <a:endParaRPr lang="en-US"/>
        </a:p>
      </dgm:t>
    </dgm:pt>
    <dgm:pt modelId="{4569107C-926C-4040-AA7E-1EF8468D6CB0}">
      <dgm:prSet custT="1"/>
      <dgm:spPr/>
      <dgm:t>
        <a:bodyPr/>
        <a:lstStyle/>
        <a:p>
          <a:pPr rtl="0"/>
          <a:r>
            <a:rPr lang="en-US" sz="2000" dirty="0">
              <a:solidFill>
                <a:schemeClr val="tx1"/>
              </a:solidFill>
            </a:rPr>
            <a:t>Right to reasonable notice in writing of any non-emergency inspection or entry into unit. </a:t>
          </a:r>
        </a:p>
      </dgm:t>
    </dgm:pt>
    <dgm:pt modelId="{F9657776-BC3E-486C-9CF0-2D2303E16AB9}" type="parTrans" cxnId="{5902B95D-440E-466A-BEC3-BB3327435DE3}">
      <dgm:prSet/>
      <dgm:spPr/>
      <dgm:t>
        <a:bodyPr/>
        <a:lstStyle/>
        <a:p>
          <a:endParaRPr lang="en-US"/>
        </a:p>
      </dgm:t>
    </dgm:pt>
    <dgm:pt modelId="{D45D39FA-A412-4467-9B49-D0CEED315635}" type="sibTrans" cxnId="{5902B95D-440E-466A-BEC3-BB3327435DE3}">
      <dgm:prSet/>
      <dgm:spPr/>
      <dgm:t>
        <a:bodyPr/>
        <a:lstStyle/>
        <a:p>
          <a:endParaRPr lang="en-US"/>
        </a:p>
      </dgm:t>
    </dgm:pt>
    <dgm:pt modelId="{D00DAC8F-A547-4C07-80B0-662D8FAA1024}">
      <dgm:prSet custT="1"/>
      <dgm:spPr/>
      <dgm:t>
        <a:bodyPr/>
        <a:lstStyle/>
        <a:p>
          <a:pPr rtl="0"/>
          <a:r>
            <a:rPr lang="en-US" sz="2000" dirty="0">
              <a:solidFill>
                <a:schemeClr val="tx1"/>
              </a:solidFill>
            </a:rPr>
            <a:t>If landlord is not maintaining apartment, can re-inspect and withhold payments until the apartment meets standards.  </a:t>
          </a:r>
        </a:p>
      </dgm:t>
    </dgm:pt>
    <dgm:pt modelId="{AEEB8F49-C1A2-4FC5-803E-1122432F3430}" type="parTrans" cxnId="{39753F06-2F2C-43FC-8F20-D98653854A05}">
      <dgm:prSet/>
      <dgm:spPr/>
      <dgm:t>
        <a:bodyPr/>
        <a:lstStyle/>
        <a:p>
          <a:endParaRPr lang="en-US"/>
        </a:p>
      </dgm:t>
    </dgm:pt>
    <dgm:pt modelId="{8FE6BECE-8DFC-4C1E-9203-D7E06D4347E1}" type="sibTrans" cxnId="{39753F06-2F2C-43FC-8F20-D98653854A05}">
      <dgm:prSet/>
      <dgm:spPr/>
      <dgm:t>
        <a:bodyPr/>
        <a:lstStyle/>
        <a:p>
          <a:endParaRPr lang="en-US"/>
        </a:p>
      </dgm:t>
    </dgm:pt>
    <dgm:pt modelId="{D6E2BBF5-0E35-4326-9092-57C41AA3734F}" type="pres">
      <dgm:prSet presAssocID="{A03CD93F-E817-4CDF-9B4B-26A88457743C}" presName="Name0" presStyleCnt="0">
        <dgm:presLayoutVars>
          <dgm:dir/>
          <dgm:resizeHandles val="exact"/>
        </dgm:presLayoutVars>
      </dgm:prSet>
      <dgm:spPr/>
    </dgm:pt>
    <dgm:pt modelId="{78BA46D1-D0EA-4704-8845-C6342781F439}" type="pres">
      <dgm:prSet presAssocID="{8D3E4E87-C2B8-4E5E-B792-2C387A9FDDEA}" presName="composite" presStyleCnt="0"/>
      <dgm:spPr/>
    </dgm:pt>
    <dgm:pt modelId="{C854E354-6BD0-4B24-98A5-0EAF95968BE5}" type="pres">
      <dgm:prSet presAssocID="{8D3E4E87-C2B8-4E5E-B792-2C387A9FDDEA}" presName="rect1" presStyleLbl="trAlignAcc1" presStyleIdx="0" presStyleCnt="4" custScaleY="158617">
        <dgm:presLayoutVars>
          <dgm:bulletEnabled val="1"/>
        </dgm:presLayoutVars>
      </dgm:prSet>
      <dgm:spPr/>
    </dgm:pt>
    <dgm:pt modelId="{BD7C422A-5ED5-45B6-BBD5-F937B81A31B8}" type="pres">
      <dgm:prSet presAssocID="{8D3E4E87-C2B8-4E5E-B792-2C387A9FDDEA}" presName="rect2" presStyleLbl="fgImgPlace1" presStyleIdx="0" presStyleCnt="4" custLinFactNeighborX="-8063" custLinFactNeighborY="307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0000" r="-50000"/>
          </a:stretch>
        </a:blipFill>
      </dgm:spPr>
    </dgm:pt>
    <dgm:pt modelId="{79970BE0-27FD-42D3-87AE-052019264E39}" type="pres">
      <dgm:prSet presAssocID="{2FF409DE-580E-4629-9FA7-15E787B6BA7B}" presName="sibTrans" presStyleCnt="0"/>
      <dgm:spPr/>
    </dgm:pt>
    <dgm:pt modelId="{FEA4FF41-C425-40A0-AEA6-404087545F92}" type="pres">
      <dgm:prSet presAssocID="{CC877FBF-1C9A-47F2-8E3E-0EDADF109115}" presName="composite" presStyleCnt="0"/>
      <dgm:spPr/>
    </dgm:pt>
    <dgm:pt modelId="{99607EDE-88D2-45CF-A173-5CAA5E66E545}" type="pres">
      <dgm:prSet presAssocID="{CC877FBF-1C9A-47F2-8E3E-0EDADF109115}" presName="rect1" presStyleLbl="trAlignAcc1" presStyleIdx="1" presStyleCnt="4" custScaleY="158617">
        <dgm:presLayoutVars>
          <dgm:bulletEnabled val="1"/>
        </dgm:presLayoutVars>
      </dgm:prSet>
      <dgm:spPr/>
    </dgm:pt>
    <dgm:pt modelId="{905B48CD-8E31-4F66-BCB6-2D82801BFC78}" type="pres">
      <dgm:prSet presAssocID="{CC877FBF-1C9A-47F2-8E3E-0EDADF109115}" presName="rect2" presStyleLbl="fgImgPlace1" presStyleIdx="1" presStyleCnt="4" custLinFactNeighborX="-2894" custLinFactNeighborY="3074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AB378D36-A510-4698-9785-D21CD8464799}" type="pres">
      <dgm:prSet presAssocID="{45C18151-92FC-49D6-93F8-B43142EECDAD}" presName="sibTrans" presStyleCnt="0"/>
      <dgm:spPr/>
    </dgm:pt>
    <dgm:pt modelId="{45313110-1B59-45C2-ACAA-967B58CD5CAC}" type="pres">
      <dgm:prSet presAssocID="{4569107C-926C-4040-AA7E-1EF8468D6CB0}" presName="composite" presStyleCnt="0"/>
      <dgm:spPr/>
    </dgm:pt>
    <dgm:pt modelId="{C239E5DF-6DF8-4524-9806-838B947BB76D}" type="pres">
      <dgm:prSet presAssocID="{4569107C-926C-4040-AA7E-1EF8468D6CB0}" presName="rect1" presStyleLbl="trAlignAcc1" presStyleIdx="2" presStyleCnt="4" custScaleY="171983">
        <dgm:presLayoutVars>
          <dgm:bulletEnabled val="1"/>
        </dgm:presLayoutVars>
      </dgm:prSet>
      <dgm:spPr/>
    </dgm:pt>
    <dgm:pt modelId="{94A75838-D275-41E9-81BA-E5A8837CD318}" type="pres">
      <dgm:prSet presAssocID="{4569107C-926C-4040-AA7E-1EF8468D6CB0}" presName="rect2" presStyleLbl="fgImgPlace1" presStyleIdx="2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4000" r="-104000"/>
          </a:stretch>
        </a:blipFill>
      </dgm:spPr>
    </dgm:pt>
    <dgm:pt modelId="{4C0D7C7D-2EB1-42FC-A498-0663A0EC8986}" type="pres">
      <dgm:prSet presAssocID="{D45D39FA-A412-4467-9B49-D0CEED315635}" presName="sibTrans" presStyleCnt="0"/>
      <dgm:spPr/>
    </dgm:pt>
    <dgm:pt modelId="{6CC7FFA9-6FD4-4FB0-8103-65AB714582D7}" type="pres">
      <dgm:prSet presAssocID="{D00DAC8F-A547-4C07-80B0-662D8FAA1024}" presName="composite" presStyleCnt="0"/>
      <dgm:spPr/>
    </dgm:pt>
    <dgm:pt modelId="{25139CC5-86CB-4BE6-BECC-B852E703061A}" type="pres">
      <dgm:prSet presAssocID="{D00DAC8F-A547-4C07-80B0-662D8FAA1024}" presName="rect1" presStyleLbl="trAlignAcc1" presStyleIdx="3" presStyleCnt="4" custScaleY="176462">
        <dgm:presLayoutVars>
          <dgm:bulletEnabled val="1"/>
        </dgm:presLayoutVars>
      </dgm:prSet>
      <dgm:spPr/>
    </dgm:pt>
    <dgm:pt modelId="{E94EF968-ADAB-4133-8128-6087C62B3C8F}" type="pres">
      <dgm:prSet presAssocID="{D00DAC8F-A547-4C07-80B0-662D8FAA1024}" presName="rect2" presStyleLbl="fgImgPlace1" presStyleIdx="3" presStyleCnt="4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1000" r="-41000"/>
          </a:stretch>
        </a:blipFill>
      </dgm:spPr>
    </dgm:pt>
  </dgm:ptLst>
  <dgm:cxnLst>
    <dgm:cxn modelId="{39753F06-2F2C-43FC-8F20-D98653854A05}" srcId="{A03CD93F-E817-4CDF-9B4B-26A88457743C}" destId="{D00DAC8F-A547-4C07-80B0-662D8FAA1024}" srcOrd="3" destOrd="0" parTransId="{AEEB8F49-C1A2-4FC5-803E-1122432F3430}" sibTransId="{8FE6BECE-8DFC-4C1E-9203-D7E06D4347E1}"/>
    <dgm:cxn modelId="{5902B95D-440E-466A-BEC3-BB3327435DE3}" srcId="{A03CD93F-E817-4CDF-9B4B-26A88457743C}" destId="{4569107C-926C-4040-AA7E-1EF8468D6CB0}" srcOrd="2" destOrd="0" parTransId="{F9657776-BC3E-486C-9CF0-2D2303E16AB9}" sibTransId="{D45D39FA-A412-4467-9B49-D0CEED315635}"/>
    <dgm:cxn modelId="{73082A68-ACDC-47BD-BF5E-F5D63BA25264}" type="presOf" srcId="{4569107C-926C-4040-AA7E-1EF8468D6CB0}" destId="{C239E5DF-6DF8-4524-9806-838B947BB76D}" srcOrd="0" destOrd="0" presId="urn:microsoft.com/office/officeart/2008/layout/PictureStrips"/>
    <dgm:cxn modelId="{A602374D-6B4C-433C-8A91-EA94EE6AE2BE}" type="presOf" srcId="{CC877FBF-1C9A-47F2-8E3E-0EDADF109115}" destId="{99607EDE-88D2-45CF-A173-5CAA5E66E545}" srcOrd="0" destOrd="0" presId="urn:microsoft.com/office/officeart/2008/layout/PictureStrips"/>
    <dgm:cxn modelId="{EE74EA74-EFB1-456E-9A18-A35BC35EADF1}" srcId="{A03CD93F-E817-4CDF-9B4B-26A88457743C}" destId="{8D3E4E87-C2B8-4E5E-B792-2C387A9FDDEA}" srcOrd="0" destOrd="0" parTransId="{C72C92B2-3123-4A4D-89ED-EB696C2ADF22}" sibTransId="{2FF409DE-580E-4629-9FA7-15E787B6BA7B}"/>
    <dgm:cxn modelId="{86A1899F-4EA6-4267-851D-84310ADD8303}" type="presOf" srcId="{D00DAC8F-A547-4C07-80B0-662D8FAA1024}" destId="{25139CC5-86CB-4BE6-BECC-B852E703061A}" srcOrd="0" destOrd="0" presId="urn:microsoft.com/office/officeart/2008/layout/PictureStrips"/>
    <dgm:cxn modelId="{395F41A8-58AB-44D7-A600-384099FCFC1C}" type="presOf" srcId="{A03CD93F-E817-4CDF-9B4B-26A88457743C}" destId="{D6E2BBF5-0E35-4326-9092-57C41AA3734F}" srcOrd="0" destOrd="0" presId="urn:microsoft.com/office/officeart/2008/layout/PictureStrips"/>
    <dgm:cxn modelId="{1F5830BD-2D0F-4463-82A1-6A1D7A2C96F5}" type="presOf" srcId="{8D3E4E87-C2B8-4E5E-B792-2C387A9FDDEA}" destId="{C854E354-6BD0-4B24-98A5-0EAF95968BE5}" srcOrd="0" destOrd="0" presId="urn:microsoft.com/office/officeart/2008/layout/PictureStrips"/>
    <dgm:cxn modelId="{9206F9F0-9591-4D96-90D8-A1E4972B86F2}" srcId="{A03CD93F-E817-4CDF-9B4B-26A88457743C}" destId="{CC877FBF-1C9A-47F2-8E3E-0EDADF109115}" srcOrd="1" destOrd="0" parTransId="{7F8267AA-01A7-45F2-ACBD-BC453FD47776}" sibTransId="{45C18151-92FC-49D6-93F8-B43142EECDAD}"/>
    <dgm:cxn modelId="{76BE0F12-2378-42CC-AAAD-98E8885C87A6}" type="presParOf" srcId="{D6E2BBF5-0E35-4326-9092-57C41AA3734F}" destId="{78BA46D1-D0EA-4704-8845-C6342781F439}" srcOrd="0" destOrd="0" presId="urn:microsoft.com/office/officeart/2008/layout/PictureStrips"/>
    <dgm:cxn modelId="{2177B46C-A693-4327-8FE0-1C54EAB430BF}" type="presParOf" srcId="{78BA46D1-D0EA-4704-8845-C6342781F439}" destId="{C854E354-6BD0-4B24-98A5-0EAF95968BE5}" srcOrd="0" destOrd="0" presId="urn:microsoft.com/office/officeart/2008/layout/PictureStrips"/>
    <dgm:cxn modelId="{8704DEB2-EC54-402D-BE0C-BF1599FC2E7D}" type="presParOf" srcId="{78BA46D1-D0EA-4704-8845-C6342781F439}" destId="{BD7C422A-5ED5-45B6-BBD5-F937B81A31B8}" srcOrd="1" destOrd="0" presId="urn:microsoft.com/office/officeart/2008/layout/PictureStrips"/>
    <dgm:cxn modelId="{A67551E0-51CB-40B9-AB83-E53B87534AA1}" type="presParOf" srcId="{D6E2BBF5-0E35-4326-9092-57C41AA3734F}" destId="{79970BE0-27FD-42D3-87AE-052019264E39}" srcOrd="1" destOrd="0" presId="urn:microsoft.com/office/officeart/2008/layout/PictureStrips"/>
    <dgm:cxn modelId="{1D1CC4A6-3672-4C37-A2C4-4ACD3E130F21}" type="presParOf" srcId="{D6E2BBF5-0E35-4326-9092-57C41AA3734F}" destId="{FEA4FF41-C425-40A0-AEA6-404087545F92}" srcOrd="2" destOrd="0" presId="urn:microsoft.com/office/officeart/2008/layout/PictureStrips"/>
    <dgm:cxn modelId="{ECE4BF58-ED95-4EC9-9180-BB0812B8D2B5}" type="presParOf" srcId="{FEA4FF41-C425-40A0-AEA6-404087545F92}" destId="{99607EDE-88D2-45CF-A173-5CAA5E66E545}" srcOrd="0" destOrd="0" presId="urn:microsoft.com/office/officeart/2008/layout/PictureStrips"/>
    <dgm:cxn modelId="{CED03E9E-932C-48B7-9645-7079F3183F22}" type="presParOf" srcId="{FEA4FF41-C425-40A0-AEA6-404087545F92}" destId="{905B48CD-8E31-4F66-BCB6-2D82801BFC78}" srcOrd="1" destOrd="0" presId="urn:microsoft.com/office/officeart/2008/layout/PictureStrips"/>
    <dgm:cxn modelId="{45FDBCE4-593A-4B59-94F7-DFB72AFEC5D3}" type="presParOf" srcId="{D6E2BBF5-0E35-4326-9092-57C41AA3734F}" destId="{AB378D36-A510-4698-9785-D21CD8464799}" srcOrd="3" destOrd="0" presId="urn:microsoft.com/office/officeart/2008/layout/PictureStrips"/>
    <dgm:cxn modelId="{31945917-3BF7-4682-BFEE-E23A155D2BD7}" type="presParOf" srcId="{D6E2BBF5-0E35-4326-9092-57C41AA3734F}" destId="{45313110-1B59-45C2-ACAA-967B58CD5CAC}" srcOrd="4" destOrd="0" presId="urn:microsoft.com/office/officeart/2008/layout/PictureStrips"/>
    <dgm:cxn modelId="{642212BB-14C5-4C95-B838-B2ABD0E3DAFE}" type="presParOf" srcId="{45313110-1B59-45C2-ACAA-967B58CD5CAC}" destId="{C239E5DF-6DF8-4524-9806-838B947BB76D}" srcOrd="0" destOrd="0" presId="urn:microsoft.com/office/officeart/2008/layout/PictureStrips"/>
    <dgm:cxn modelId="{BC75252F-16F5-4AC1-9E02-FEF83DEC0205}" type="presParOf" srcId="{45313110-1B59-45C2-ACAA-967B58CD5CAC}" destId="{94A75838-D275-41E9-81BA-E5A8837CD318}" srcOrd="1" destOrd="0" presId="urn:microsoft.com/office/officeart/2008/layout/PictureStrips"/>
    <dgm:cxn modelId="{252ACA53-E048-4F76-9B94-75602850C61C}" type="presParOf" srcId="{D6E2BBF5-0E35-4326-9092-57C41AA3734F}" destId="{4C0D7C7D-2EB1-42FC-A498-0663A0EC8986}" srcOrd="5" destOrd="0" presId="urn:microsoft.com/office/officeart/2008/layout/PictureStrips"/>
    <dgm:cxn modelId="{A50C32D8-1B2F-46E1-997F-DC12B741CEFF}" type="presParOf" srcId="{D6E2BBF5-0E35-4326-9092-57C41AA3734F}" destId="{6CC7FFA9-6FD4-4FB0-8103-65AB714582D7}" srcOrd="6" destOrd="0" presId="urn:microsoft.com/office/officeart/2008/layout/PictureStrips"/>
    <dgm:cxn modelId="{42360586-C0B3-43CE-883B-0C9CB369D4D7}" type="presParOf" srcId="{6CC7FFA9-6FD4-4FB0-8103-65AB714582D7}" destId="{25139CC5-86CB-4BE6-BECC-B852E703061A}" srcOrd="0" destOrd="0" presId="urn:microsoft.com/office/officeart/2008/layout/PictureStrips"/>
    <dgm:cxn modelId="{EFA42AE8-A547-43BD-8CF1-D789D4EC68E5}" type="presParOf" srcId="{6CC7FFA9-6FD4-4FB0-8103-65AB714582D7}" destId="{E94EF968-ADAB-4133-8128-6087C62B3C8F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4AAC47A-6419-4872-B0AE-5F8B0EED6E12}" type="doc">
      <dgm:prSet loTypeId="urn:microsoft.com/office/officeart/2005/8/layout/p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BE4CBD4-9198-4E7F-A8C1-83283CE11883}">
      <dgm:prSet custT="1"/>
      <dgm:spPr/>
      <dgm:t>
        <a:bodyPr/>
        <a:lstStyle/>
        <a:p>
          <a:pPr rtl="0"/>
          <a:r>
            <a:rPr lang="en-US" sz="2400" dirty="0">
              <a:solidFill>
                <a:schemeClr val="tx1"/>
              </a:solidFill>
            </a:rPr>
            <a:t>Abide by terms of lease</a:t>
          </a:r>
        </a:p>
      </dgm:t>
    </dgm:pt>
    <dgm:pt modelId="{63DA72A8-F347-4B83-99B5-113065A468D3}" type="parTrans" cxnId="{4DCC69D7-6550-4311-86DE-1E89CE8A5E05}">
      <dgm:prSet/>
      <dgm:spPr/>
      <dgm:t>
        <a:bodyPr/>
        <a:lstStyle/>
        <a:p>
          <a:endParaRPr lang="en-US"/>
        </a:p>
      </dgm:t>
    </dgm:pt>
    <dgm:pt modelId="{75A6826A-AA98-44B6-ACF2-0900F467E788}" type="sibTrans" cxnId="{4DCC69D7-6550-4311-86DE-1E89CE8A5E05}">
      <dgm:prSet/>
      <dgm:spPr/>
      <dgm:t>
        <a:bodyPr/>
        <a:lstStyle/>
        <a:p>
          <a:endParaRPr lang="en-US"/>
        </a:p>
      </dgm:t>
    </dgm:pt>
    <dgm:pt modelId="{02548344-DD5D-4042-8FFC-99CD8358C9AD}">
      <dgm:prSet custT="1"/>
      <dgm:spPr/>
      <dgm:t>
        <a:bodyPr/>
        <a:lstStyle/>
        <a:p>
          <a:pPr rtl="0"/>
          <a:r>
            <a:rPr lang="en-US" sz="2400" dirty="0">
              <a:solidFill>
                <a:schemeClr val="tx1"/>
              </a:solidFill>
            </a:rPr>
            <a:t>Provide accurate info for annual recertification</a:t>
          </a:r>
        </a:p>
      </dgm:t>
    </dgm:pt>
    <dgm:pt modelId="{05568A18-D9AA-4A5E-98B0-C4FD81335896}" type="parTrans" cxnId="{D7F36F49-26F8-4001-B091-96300B381326}">
      <dgm:prSet/>
      <dgm:spPr/>
      <dgm:t>
        <a:bodyPr/>
        <a:lstStyle/>
        <a:p>
          <a:endParaRPr lang="en-US"/>
        </a:p>
      </dgm:t>
    </dgm:pt>
    <dgm:pt modelId="{868A2AFC-F7E6-4FF8-875D-F03BB59CD02F}" type="sibTrans" cxnId="{D7F36F49-26F8-4001-B091-96300B381326}">
      <dgm:prSet/>
      <dgm:spPr/>
      <dgm:t>
        <a:bodyPr/>
        <a:lstStyle/>
        <a:p>
          <a:endParaRPr lang="en-US"/>
        </a:p>
      </dgm:t>
    </dgm:pt>
    <dgm:pt modelId="{12002279-2935-460A-876D-A87B94D602CC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tx1"/>
              </a:solidFill>
            </a:rPr>
            <a:t>Report changes in income or family composition</a:t>
          </a:r>
        </a:p>
      </dgm:t>
    </dgm:pt>
    <dgm:pt modelId="{4E34F445-99D1-407F-945F-9461619743F8}" type="parTrans" cxnId="{2F9111E4-37B4-402C-9C3A-8534A65D8AA5}">
      <dgm:prSet/>
      <dgm:spPr/>
      <dgm:t>
        <a:bodyPr/>
        <a:lstStyle/>
        <a:p>
          <a:endParaRPr lang="en-US"/>
        </a:p>
      </dgm:t>
    </dgm:pt>
    <dgm:pt modelId="{241AFFC4-7240-4038-A771-BBCBB4C5982B}" type="sibTrans" cxnId="{2F9111E4-37B4-402C-9C3A-8534A65D8AA5}">
      <dgm:prSet/>
      <dgm:spPr/>
      <dgm:t>
        <a:bodyPr/>
        <a:lstStyle/>
        <a:p>
          <a:endParaRPr lang="en-US"/>
        </a:p>
      </dgm:t>
    </dgm:pt>
    <dgm:pt modelId="{54AFF9DB-700A-4DED-8FAC-01B90DB8D40B}">
      <dgm:prSet custT="1"/>
      <dgm:spPr/>
      <dgm:t>
        <a:bodyPr/>
        <a:lstStyle/>
        <a:p>
          <a:pPr rtl="0"/>
          <a:r>
            <a:rPr lang="en-US" sz="2400" b="0" dirty="0">
              <a:solidFill>
                <a:schemeClr val="tx1"/>
              </a:solidFill>
            </a:rPr>
            <a:t>Allow HUD required inspection</a:t>
          </a:r>
        </a:p>
      </dgm:t>
    </dgm:pt>
    <dgm:pt modelId="{067E6260-9A65-4668-BECF-A967FB071624}" type="parTrans" cxnId="{2DBBACCD-FF44-46C1-A896-3E8E9C40C4AE}">
      <dgm:prSet/>
      <dgm:spPr/>
      <dgm:t>
        <a:bodyPr/>
        <a:lstStyle/>
        <a:p>
          <a:endParaRPr lang="en-US"/>
        </a:p>
      </dgm:t>
    </dgm:pt>
    <dgm:pt modelId="{2C5B8B97-FC21-4ECF-921F-8E469AB1BD21}" type="sibTrans" cxnId="{2DBBACCD-FF44-46C1-A896-3E8E9C40C4AE}">
      <dgm:prSet/>
      <dgm:spPr/>
      <dgm:t>
        <a:bodyPr/>
        <a:lstStyle/>
        <a:p>
          <a:endParaRPr lang="en-US"/>
        </a:p>
      </dgm:t>
    </dgm:pt>
    <dgm:pt modelId="{989D4CDF-FDFA-4C52-9E0A-3C01E189331B}" type="pres">
      <dgm:prSet presAssocID="{C4AAC47A-6419-4872-B0AE-5F8B0EED6E12}" presName="Name0" presStyleCnt="0">
        <dgm:presLayoutVars>
          <dgm:dir/>
          <dgm:resizeHandles val="exact"/>
        </dgm:presLayoutVars>
      </dgm:prSet>
      <dgm:spPr/>
    </dgm:pt>
    <dgm:pt modelId="{0EBD10F3-2FEE-4501-AB0D-AF99FECDDC98}" type="pres">
      <dgm:prSet presAssocID="{C4AAC47A-6419-4872-B0AE-5F8B0EED6E12}" presName="bkgdShp" presStyleLbl="alignAccFollowNode1" presStyleIdx="0" presStyleCnt="1"/>
      <dgm:spPr/>
    </dgm:pt>
    <dgm:pt modelId="{55B4200B-9837-4238-AD7F-7764E91106FB}" type="pres">
      <dgm:prSet presAssocID="{C4AAC47A-6419-4872-B0AE-5F8B0EED6E12}" presName="linComp" presStyleCnt="0"/>
      <dgm:spPr/>
    </dgm:pt>
    <dgm:pt modelId="{AC3D99F1-2CCA-49BF-AA88-DCDDAAA45A54}" type="pres">
      <dgm:prSet presAssocID="{EBE4CBD4-9198-4E7F-A8C1-83283CE11883}" presName="compNode" presStyleCnt="0"/>
      <dgm:spPr/>
    </dgm:pt>
    <dgm:pt modelId="{077105A5-EDEA-4A7F-A5D2-3B6CDEAA075F}" type="pres">
      <dgm:prSet presAssocID="{EBE4CBD4-9198-4E7F-A8C1-83283CE11883}" presName="node" presStyleLbl="node1" presStyleIdx="0" presStyleCnt="4">
        <dgm:presLayoutVars>
          <dgm:bulletEnabled val="1"/>
        </dgm:presLayoutVars>
      </dgm:prSet>
      <dgm:spPr/>
    </dgm:pt>
    <dgm:pt modelId="{EE5F73D5-CD95-41C7-AE40-F6B23A63316A}" type="pres">
      <dgm:prSet presAssocID="{EBE4CBD4-9198-4E7F-A8C1-83283CE11883}" presName="invisiNode" presStyleLbl="node1" presStyleIdx="0" presStyleCnt="4"/>
      <dgm:spPr/>
    </dgm:pt>
    <dgm:pt modelId="{E6AE0515-4218-44B4-87B9-2BEB227E0432}" type="pres">
      <dgm:prSet presAssocID="{EBE4CBD4-9198-4E7F-A8C1-83283CE11883}" presName="imagNode" presStyleLbl="fgImgPlace1" presStyleIdx="0" presStyleCnt="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4000" b="-24000"/>
          </a:stretch>
        </a:blipFill>
      </dgm:spPr>
    </dgm:pt>
    <dgm:pt modelId="{B119D081-243C-4A8F-8A4B-C61C923AA9D6}" type="pres">
      <dgm:prSet presAssocID="{75A6826A-AA98-44B6-ACF2-0900F467E788}" presName="sibTrans" presStyleLbl="sibTrans2D1" presStyleIdx="0" presStyleCnt="0"/>
      <dgm:spPr/>
    </dgm:pt>
    <dgm:pt modelId="{C7826057-E824-4C5E-91C1-CFF9BBB8E3C5}" type="pres">
      <dgm:prSet presAssocID="{02548344-DD5D-4042-8FFC-99CD8358C9AD}" presName="compNode" presStyleCnt="0"/>
      <dgm:spPr/>
    </dgm:pt>
    <dgm:pt modelId="{EAE7C5FB-46FD-4C01-ACDF-135080CAC9F2}" type="pres">
      <dgm:prSet presAssocID="{02548344-DD5D-4042-8FFC-99CD8358C9AD}" presName="node" presStyleLbl="node1" presStyleIdx="1" presStyleCnt="4" custLinFactNeighborX="373" custLinFactNeighborY="325">
        <dgm:presLayoutVars>
          <dgm:bulletEnabled val="1"/>
        </dgm:presLayoutVars>
      </dgm:prSet>
      <dgm:spPr/>
    </dgm:pt>
    <dgm:pt modelId="{F34FE23B-6BB6-4F3F-BD54-8832BB58024E}" type="pres">
      <dgm:prSet presAssocID="{02548344-DD5D-4042-8FFC-99CD8358C9AD}" presName="invisiNode" presStyleLbl="node1" presStyleIdx="1" presStyleCnt="4"/>
      <dgm:spPr/>
    </dgm:pt>
    <dgm:pt modelId="{091DCC4D-33E1-494D-B0A4-2D534952B0F2}" type="pres">
      <dgm:prSet presAssocID="{02548344-DD5D-4042-8FFC-99CD8358C9AD}" presName="imagNode" presStyleLbl="fgImgPlace1" presStyleIdx="1" presStyleCnt="4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6000" b="-16000"/>
          </a:stretch>
        </a:blipFill>
      </dgm:spPr>
    </dgm:pt>
    <dgm:pt modelId="{1920EBDB-1C29-4572-B55B-7AB54CF63C02}" type="pres">
      <dgm:prSet presAssocID="{868A2AFC-F7E6-4FF8-875D-F03BB59CD02F}" presName="sibTrans" presStyleLbl="sibTrans2D1" presStyleIdx="0" presStyleCnt="0"/>
      <dgm:spPr/>
    </dgm:pt>
    <dgm:pt modelId="{5ACD6376-834D-4A70-B694-5049751BC12C}" type="pres">
      <dgm:prSet presAssocID="{12002279-2935-460A-876D-A87B94D602CC}" presName="compNode" presStyleCnt="0"/>
      <dgm:spPr/>
    </dgm:pt>
    <dgm:pt modelId="{E69060AF-34F8-4B33-8009-5BC906262EB2}" type="pres">
      <dgm:prSet presAssocID="{12002279-2935-460A-876D-A87B94D602CC}" presName="node" presStyleLbl="node1" presStyleIdx="2" presStyleCnt="4">
        <dgm:presLayoutVars>
          <dgm:bulletEnabled val="1"/>
        </dgm:presLayoutVars>
      </dgm:prSet>
      <dgm:spPr/>
    </dgm:pt>
    <dgm:pt modelId="{4CB6A457-E299-4DD5-BEB1-38AFCBB0FB74}" type="pres">
      <dgm:prSet presAssocID="{12002279-2935-460A-876D-A87B94D602CC}" presName="invisiNode" presStyleLbl="node1" presStyleIdx="2" presStyleCnt="4"/>
      <dgm:spPr/>
    </dgm:pt>
    <dgm:pt modelId="{4752F7DE-8A48-4F57-A97D-55F273714234}" type="pres">
      <dgm:prSet presAssocID="{12002279-2935-460A-876D-A87B94D602CC}" presName="imagNode" presStyleLbl="fgImgPlace1" presStyleIdx="2" presStyleCnt="4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61000" b="-61000"/>
          </a:stretch>
        </a:blipFill>
      </dgm:spPr>
    </dgm:pt>
    <dgm:pt modelId="{CAA9B4CB-D6F7-4967-A619-D0627ECC7982}" type="pres">
      <dgm:prSet presAssocID="{241AFFC4-7240-4038-A771-BBCBB4C5982B}" presName="sibTrans" presStyleLbl="sibTrans2D1" presStyleIdx="0" presStyleCnt="0"/>
      <dgm:spPr/>
    </dgm:pt>
    <dgm:pt modelId="{B80D9406-766A-435C-824F-F61C7B0FCAFC}" type="pres">
      <dgm:prSet presAssocID="{54AFF9DB-700A-4DED-8FAC-01B90DB8D40B}" presName="compNode" presStyleCnt="0"/>
      <dgm:spPr/>
    </dgm:pt>
    <dgm:pt modelId="{9F032AE0-826F-4813-9E5B-5B577A49156B}" type="pres">
      <dgm:prSet presAssocID="{54AFF9DB-700A-4DED-8FAC-01B90DB8D40B}" presName="node" presStyleLbl="node1" presStyleIdx="3" presStyleCnt="4">
        <dgm:presLayoutVars>
          <dgm:bulletEnabled val="1"/>
        </dgm:presLayoutVars>
      </dgm:prSet>
      <dgm:spPr/>
    </dgm:pt>
    <dgm:pt modelId="{F2CDB0DA-1F02-4573-898D-9D939AE9C915}" type="pres">
      <dgm:prSet presAssocID="{54AFF9DB-700A-4DED-8FAC-01B90DB8D40B}" presName="invisiNode" presStyleLbl="node1" presStyleIdx="3" presStyleCnt="4"/>
      <dgm:spPr/>
    </dgm:pt>
    <dgm:pt modelId="{8DFD959B-35DC-46F2-877C-34954F89C999}" type="pres">
      <dgm:prSet presAssocID="{54AFF9DB-700A-4DED-8FAC-01B90DB8D40B}" presName="imagNode" presStyleLbl="fgImgPlace1" presStyleIdx="3" presStyleCnt="4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</dgm:ptLst>
  <dgm:cxnLst>
    <dgm:cxn modelId="{D7F36F49-26F8-4001-B091-96300B381326}" srcId="{C4AAC47A-6419-4872-B0AE-5F8B0EED6E12}" destId="{02548344-DD5D-4042-8FFC-99CD8358C9AD}" srcOrd="1" destOrd="0" parTransId="{05568A18-D9AA-4A5E-98B0-C4FD81335896}" sibTransId="{868A2AFC-F7E6-4FF8-875D-F03BB59CD02F}"/>
    <dgm:cxn modelId="{7EE48E58-088D-4F24-A291-1A158F65F2E1}" type="presOf" srcId="{54AFF9DB-700A-4DED-8FAC-01B90DB8D40B}" destId="{9F032AE0-826F-4813-9E5B-5B577A49156B}" srcOrd="0" destOrd="0" presId="urn:microsoft.com/office/officeart/2005/8/layout/pList2"/>
    <dgm:cxn modelId="{21278D83-B1CD-406F-97C1-8A2BF17EBBD1}" type="presOf" srcId="{75A6826A-AA98-44B6-ACF2-0900F467E788}" destId="{B119D081-243C-4A8F-8A4B-C61C923AA9D6}" srcOrd="0" destOrd="0" presId="urn:microsoft.com/office/officeart/2005/8/layout/pList2"/>
    <dgm:cxn modelId="{8A24EC91-BD32-4216-8BBB-C69EEB869EE9}" type="presOf" srcId="{868A2AFC-F7E6-4FF8-875D-F03BB59CD02F}" destId="{1920EBDB-1C29-4572-B55B-7AB54CF63C02}" srcOrd="0" destOrd="0" presId="urn:microsoft.com/office/officeart/2005/8/layout/pList2"/>
    <dgm:cxn modelId="{70C5F793-BF04-404E-B9DA-F7E1C5890BF2}" type="presOf" srcId="{02548344-DD5D-4042-8FFC-99CD8358C9AD}" destId="{EAE7C5FB-46FD-4C01-ACDF-135080CAC9F2}" srcOrd="0" destOrd="0" presId="urn:microsoft.com/office/officeart/2005/8/layout/pList2"/>
    <dgm:cxn modelId="{2818F4A6-46C3-4352-8F5A-D3ED4FE77E7C}" type="presOf" srcId="{EBE4CBD4-9198-4E7F-A8C1-83283CE11883}" destId="{077105A5-EDEA-4A7F-A5D2-3B6CDEAA075F}" srcOrd="0" destOrd="0" presId="urn:microsoft.com/office/officeart/2005/8/layout/pList2"/>
    <dgm:cxn modelId="{A4ABD1A9-ED4A-4DD8-A37A-E3538CF0EDDD}" type="presOf" srcId="{12002279-2935-460A-876D-A87B94D602CC}" destId="{E69060AF-34F8-4B33-8009-5BC906262EB2}" srcOrd="0" destOrd="0" presId="urn:microsoft.com/office/officeart/2005/8/layout/pList2"/>
    <dgm:cxn modelId="{4703CCB1-925D-4EE2-95AF-5D4E4CCC4692}" type="presOf" srcId="{C4AAC47A-6419-4872-B0AE-5F8B0EED6E12}" destId="{989D4CDF-FDFA-4C52-9E0A-3C01E189331B}" srcOrd="0" destOrd="0" presId="urn:microsoft.com/office/officeart/2005/8/layout/pList2"/>
    <dgm:cxn modelId="{2DBBACCD-FF44-46C1-A896-3E8E9C40C4AE}" srcId="{C4AAC47A-6419-4872-B0AE-5F8B0EED6E12}" destId="{54AFF9DB-700A-4DED-8FAC-01B90DB8D40B}" srcOrd="3" destOrd="0" parTransId="{067E6260-9A65-4668-BECF-A967FB071624}" sibTransId="{2C5B8B97-FC21-4ECF-921F-8E469AB1BD21}"/>
    <dgm:cxn modelId="{4DCC69D7-6550-4311-86DE-1E89CE8A5E05}" srcId="{C4AAC47A-6419-4872-B0AE-5F8B0EED6E12}" destId="{EBE4CBD4-9198-4E7F-A8C1-83283CE11883}" srcOrd="0" destOrd="0" parTransId="{63DA72A8-F347-4B83-99B5-113065A468D3}" sibTransId="{75A6826A-AA98-44B6-ACF2-0900F467E788}"/>
    <dgm:cxn modelId="{4651F8E2-DEDD-4640-8E88-B9DE53826304}" type="presOf" srcId="{241AFFC4-7240-4038-A771-BBCBB4C5982B}" destId="{CAA9B4CB-D6F7-4967-A619-D0627ECC7982}" srcOrd="0" destOrd="0" presId="urn:microsoft.com/office/officeart/2005/8/layout/pList2"/>
    <dgm:cxn modelId="{2F9111E4-37B4-402C-9C3A-8534A65D8AA5}" srcId="{C4AAC47A-6419-4872-B0AE-5F8B0EED6E12}" destId="{12002279-2935-460A-876D-A87B94D602CC}" srcOrd="2" destOrd="0" parTransId="{4E34F445-99D1-407F-945F-9461619743F8}" sibTransId="{241AFFC4-7240-4038-A771-BBCBB4C5982B}"/>
    <dgm:cxn modelId="{A7BE2088-CD9C-4BB6-AC48-C5CF7B5B7209}" type="presParOf" srcId="{989D4CDF-FDFA-4C52-9E0A-3C01E189331B}" destId="{0EBD10F3-2FEE-4501-AB0D-AF99FECDDC98}" srcOrd="0" destOrd="0" presId="urn:microsoft.com/office/officeart/2005/8/layout/pList2"/>
    <dgm:cxn modelId="{7E0CD15F-C1A5-4B85-867F-08B77D375AD0}" type="presParOf" srcId="{989D4CDF-FDFA-4C52-9E0A-3C01E189331B}" destId="{55B4200B-9837-4238-AD7F-7764E91106FB}" srcOrd="1" destOrd="0" presId="urn:microsoft.com/office/officeart/2005/8/layout/pList2"/>
    <dgm:cxn modelId="{167AE4C6-D737-4AA7-807A-34FA92E5768B}" type="presParOf" srcId="{55B4200B-9837-4238-AD7F-7764E91106FB}" destId="{AC3D99F1-2CCA-49BF-AA88-DCDDAAA45A54}" srcOrd="0" destOrd="0" presId="urn:microsoft.com/office/officeart/2005/8/layout/pList2"/>
    <dgm:cxn modelId="{4B7DE60C-341B-46BD-B460-BE8E79D31416}" type="presParOf" srcId="{AC3D99F1-2CCA-49BF-AA88-DCDDAAA45A54}" destId="{077105A5-EDEA-4A7F-A5D2-3B6CDEAA075F}" srcOrd="0" destOrd="0" presId="urn:microsoft.com/office/officeart/2005/8/layout/pList2"/>
    <dgm:cxn modelId="{7D8B41AB-CA70-4B7A-81EF-572478C664B7}" type="presParOf" srcId="{AC3D99F1-2CCA-49BF-AA88-DCDDAAA45A54}" destId="{EE5F73D5-CD95-41C7-AE40-F6B23A63316A}" srcOrd="1" destOrd="0" presId="urn:microsoft.com/office/officeart/2005/8/layout/pList2"/>
    <dgm:cxn modelId="{6F161168-410C-4FC7-9E93-928E8B71367F}" type="presParOf" srcId="{AC3D99F1-2CCA-49BF-AA88-DCDDAAA45A54}" destId="{E6AE0515-4218-44B4-87B9-2BEB227E0432}" srcOrd="2" destOrd="0" presId="urn:microsoft.com/office/officeart/2005/8/layout/pList2"/>
    <dgm:cxn modelId="{433A9B6E-7360-4648-B706-AC41EE15CA26}" type="presParOf" srcId="{55B4200B-9837-4238-AD7F-7764E91106FB}" destId="{B119D081-243C-4A8F-8A4B-C61C923AA9D6}" srcOrd="1" destOrd="0" presId="urn:microsoft.com/office/officeart/2005/8/layout/pList2"/>
    <dgm:cxn modelId="{7EBF6EC0-7055-4826-823D-3827EEF5A329}" type="presParOf" srcId="{55B4200B-9837-4238-AD7F-7764E91106FB}" destId="{C7826057-E824-4C5E-91C1-CFF9BBB8E3C5}" srcOrd="2" destOrd="0" presId="urn:microsoft.com/office/officeart/2005/8/layout/pList2"/>
    <dgm:cxn modelId="{18315322-7DF4-4E9B-9935-98170716A2ED}" type="presParOf" srcId="{C7826057-E824-4C5E-91C1-CFF9BBB8E3C5}" destId="{EAE7C5FB-46FD-4C01-ACDF-135080CAC9F2}" srcOrd="0" destOrd="0" presId="urn:microsoft.com/office/officeart/2005/8/layout/pList2"/>
    <dgm:cxn modelId="{F0A3C7B7-88EE-4736-8F4E-33E981964F9E}" type="presParOf" srcId="{C7826057-E824-4C5E-91C1-CFF9BBB8E3C5}" destId="{F34FE23B-6BB6-4F3F-BD54-8832BB58024E}" srcOrd="1" destOrd="0" presId="urn:microsoft.com/office/officeart/2005/8/layout/pList2"/>
    <dgm:cxn modelId="{0AAFD281-33A8-4818-A796-CCDB4953C5DF}" type="presParOf" srcId="{C7826057-E824-4C5E-91C1-CFF9BBB8E3C5}" destId="{091DCC4D-33E1-494D-B0A4-2D534952B0F2}" srcOrd="2" destOrd="0" presId="urn:microsoft.com/office/officeart/2005/8/layout/pList2"/>
    <dgm:cxn modelId="{92368914-FA31-4627-965E-C5824D7D475F}" type="presParOf" srcId="{55B4200B-9837-4238-AD7F-7764E91106FB}" destId="{1920EBDB-1C29-4572-B55B-7AB54CF63C02}" srcOrd="3" destOrd="0" presId="urn:microsoft.com/office/officeart/2005/8/layout/pList2"/>
    <dgm:cxn modelId="{77A84F5D-7945-4618-B699-CA43DFCF3DB5}" type="presParOf" srcId="{55B4200B-9837-4238-AD7F-7764E91106FB}" destId="{5ACD6376-834D-4A70-B694-5049751BC12C}" srcOrd="4" destOrd="0" presId="urn:microsoft.com/office/officeart/2005/8/layout/pList2"/>
    <dgm:cxn modelId="{E466B35E-8490-43FF-94D3-0EFD3253133A}" type="presParOf" srcId="{5ACD6376-834D-4A70-B694-5049751BC12C}" destId="{E69060AF-34F8-4B33-8009-5BC906262EB2}" srcOrd="0" destOrd="0" presId="urn:microsoft.com/office/officeart/2005/8/layout/pList2"/>
    <dgm:cxn modelId="{92EC56AC-75B2-46FE-8D94-34C5EA564DEC}" type="presParOf" srcId="{5ACD6376-834D-4A70-B694-5049751BC12C}" destId="{4CB6A457-E299-4DD5-BEB1-38AFCBB0FB74}" srcOrd="1" destOrd="0" presId="urn:microsoft.com/office/officeart/2005/8/layout/pList2"/>
    <dgm:cxn modelId="{070C8CC7-FCCB-4E29-9EE2-38F1F484260C}" type="presParOf" srcId="{5ACD6376-834D-4A70-B694-5049751BC12C}" destId="{4752F7DE-8A48-4F57-A97D-55F273714234}" srcOrd="2" destOrd="0" presId="urn:microsoft.com/office/officeart/2005/8/layout/pList2"/>
    <dgm:cxn modelId="{B59A9BBD-9F17-4324-B28F-29DD04C45542}" type="presParOf" srcId="{55B4200B-9837-4238-AD7F-7764E91106FB}" destId="{CAA9B4CB-D6F7-4967-A619-D0627ECC7982}" srcOrd="5" destOrd="0" presId="urn:microsoft.com/office/officeart/2005/8/layout/pList2"/>
    <dgm:cxn modelId="{EE42A975-9A71-4C30-8602-E0505EB96C9F}" type="presParOf" srcId="{55B4200B-9837-4238-AD7F-7764E91106FB}" destId="{B80D9406-766A-435C-824F-F61C7B0FCAFC}" srcOrd="6" destOrd="0" presId="urn:microsoft.com/office/officeart/2005/8/layout/pList2"/>
    <dgm:cxn modelId="{786198D2-F10E-46A3-90E1-6FF1AF207AC3}" type="presParOf" srcId="{B80D9406-766A-435C-824F-F61C7B0FCAFC}" destId="{9F032AE0-826F-4813-9E5B-5B577A49156B}" srcOrd="0" destOrd="0" presId="urn:microsoft.com/office/officeart/2005/8/layout/pList2"/>
    <dgm:cxn modelId="{E0FB0461-F37C-4ACD-B12D-280A86D0C8FE}" type="presParOf" srcId="{B80D9406-766A-435C-824F-F61C7B0FCAFC}" destId="{F2CDB0DA-1F02-4573-898D-9D939AE9C915}" srcOrd="1" destOrd="0" presId="urn:microsoft.com/office/officeart/2005/8/layout/pList2"/>
    <dgm:cxn modelId="{BE7BDE47-481A-4BD7-B7DF-55D6AAB4C2DC}" type="presParOf" srcId="{B80D9406-766A-435C-824F-F61C7B0FCAFC}" destId="{8DFD959B-35DC-46F2-877C-34954F89C999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E3C758-C787-44CF-A131-53D991CF7505}">
      <dsp:nvSpPr>
        <dsp:cNvPr id="0" name=""/>
        <dsp:cNvSpPr/>
      </dsp:nvSpPr>
      <dsp:spPr>
        <a:xfrm>
          <a:off x="0" y="0"/>
          <a:ext cx="10058399" cy="2160392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57E4B91-4088-4E9D-B809-08ADA20F48A2}">
      <dsp:nvSpPr>
        <dsp:cNvPr id="0" name=""/>
        <dsp:cNvSpPr/>
      </dsp:nvSpPr>
      <dsp:spPr>
        <a:xfrm>
          <a:off x="379098" y="288052"/>
          <a:ext cx="1976251" cy="1584287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4551C9A-C06F-454F-A8C3-2037F765B542}">
      <dsp:nvSpPr>
        <dsp:cNvPr id="0" name=""/>
        <dsp:cNvSpPr/>
      </dsp:nvSpPr>
      <dsp:spPr>
        <a:xfrm rot="10800000">
          <a:off x="258290" y="2160392"/>
          <a:ext cx="2124526" cy="2640479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sz="2000" kern="1200" dirty="0">
              <a:solidFill>
                <a:schemeClr val="tx1"/>
              </a:solidFill>
            </a:rPr>
            <a:t>Quick access to housing while providing needed services; includes choice</a:t>
          </a:r>
        </a:p>
      </dsp:txBody>
      <dsp:txXfrm rot="10800000">
        <a:off x="323627" y="2160392"/>
        <a:ext cx="1993852" cy="2575142"/>
      </dsp:txXfrm>
    </dsp:sp>
    <dsp:sp modelId="{25E69730-1ED6-4387-BDFF-81364F04190D}">
      <dsp:nvSpPr>
        <dsp:cNvPr id="0" name=""/>
        <dsp:cNvSpPr/>
      </dsp:nvSpPr>
      <dsp:spPr>
        <a:xfrm>
          <a:off x="2693672" y="301930"/>
          <a:ext cx="2363128" cy="1584287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7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A636771-DA9D-4A99-A3BB-7889C01FFABB}">
      <dsp:nvSpPr>
        <dsp:cNvPr id="0" name=""/>
        <dsp:cNvSpPr/>
      </dsp:nvSpPr>
      <dsp:spPr>
        <a:xfrm rot="10800000">
          <a:off x="2662249" y="2132640"/>
          <a:ext cx="2372414" cy="2640479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1"/>
              </a:solidFill>
            </a:rPr>
            <a:t>Low barrier; high expectations.  Residency  contingent on meeting lease &amp; behavioral expectations. </a:t>
          </a:r>
        </a:p>
      </dsp:txBody>
      <dsp:txXfrm rot="10800000">
        <a:off x="2735209" y="2132640"/>
        <a:ext cx="2226494" cy="2567519"/>
      </dsp:txXfrm>
    </dsp:sp>
    <dsp:sp modelId="{0BAD6FE2-BB0F-40A7-81B9-3C90AA899276}">
      <dsp:nvSpPr>
        <dsp:cNvPr id="0" name=""/>
        <dsp:cNvSpPr/>
      </dsp:nvSpPr>
      <dsp:spPr>
        <a:xfrm>
          <a:off x="5134249" y="288052"/>
          <a:ext cx="2112374" cy="1584287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406B54C-C3A3-4560-9DBD-6AD6E06D5C2A}">
      <dsp:nvSpPr>
        <dsp:cNvPr id="0" name=""/>
        <dsp:cNvSpPr/>
      </dsp:nvSpPr>
      <dsp:spPr>
        <a:xfrm rot="10800000">
          <a:off x="5178161" y="2160392"/>
          <a:ext cx="2182972" cy="2640479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1"/>
              </a:solidFill>
            </a:rPr>
            <a:t>Staff use assertive engagement strategies</a:t>
          </a:r>
        </a:p>
      </dsp:txBody>
      <dsp:txXfrm rot="10800000">
        <a:off x="5245295" y="2160392"/>
        <a:ext cx="2048704" cy="2573345"/>
      </dsp:txXfrm>
    </dsp:sp>
    <dsp:sp modelId="{97C00147-0A39-479F-B2DF-B2E37EC6041F}">
      <dsp:nvSpPr>
        <dsp:cNvPr id="0" name=""/>
        <dsp:cNvSpPr/>
      </dsp:nvSpPr>
      <dsp:spPr>
        <a:xfrm>
          <a:off x="7503797" y="334519"/>
          <a:ext cx="2362119" cy="1584287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7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88BDCC6-1A08-4B19-AB46-F54BE9D1862B}">
      <dsp:nvSpPr>
        <dsp:cNvPr id="0" name=""/>
        <dsp:cNvSpPr/>
      </dsp:nvSpPr>
      <dsp:spPr>
        <a:xfrm rot="10800000">
          <a:off x="7554290" y="2132640"/>
          <a:ext cx="2364837" cy="2640479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t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0" kern="1200" dirty="0">
              <a:solidFill>
                <a:schemeClr val="tx1"/>
              </a:solidFill>
            </a:rPr>
            <a:t>Staff teach tenancy skills, prevent eviction and connect to community resources</a:t>
          </a:r>
          <a:endParaRPr lang="en-US" sz="1800" b="0" kern="1200" dirty="0">
            <a:solidFill>
              <a:schemeClr val="tx1"/>
            </a:solidFill>
          </a:endParaRPr>
        </a:p>
      </dsp:txBody>
      <dsp:txXfrm rot="10800000">
        <a:off x="7627017" y="2132640"/>
        <a:ext cx="2219383" cy="2567752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4006EA-055D-459E-9EDD-858D569916EC}">
      <dsp:nvSpPr>
        <dsp:cNvPr id="0" name=""/>
        <dsp:cNvSpPr/>
      </dsp:nvSpPr>
      <dsp:spPr>
        <a:xfrm>
          <a:off x="145" y="0"/>
          <a:ext cx="1932830" cy="50291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400" kern="1200" dirty="0">
            <a:solidFill>
              <a:schemeClr val="tx1"/>
            </a:solidFill>
          </a:endParaRPr>
        </a:p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Allow others quiet/</a:t>
          </a:r>
        </a:p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peaceful </a:t>
          </a:r>
          <a:r>
            <a:rPr lang="en-US" sz="1800" kern="1200" dirty="0">
              <a:solidFill>
                <a:schemeClr val="tx1"/>
              </a:solidFill>
            </a:rPr>
            <a:t>enjoyment</a:t>
          </a:r>
        </a:p>
      </dsp:txBody>
      <dsp:txXfrm>
        <a:off x="145" y="2011680"/>
        <a:ext cx="1932830" cy="2011680"/>
      </dsp:txXfrm>
    </dsp:sp>
    <dsp:sp modelId="{3EC53200-8354-4645-97BC-8E6E5D2F8590}">
      <dsp:nvSpPr>
        <dsp:cNvPr id="0" name=""/>
        <dsp:cNvSpPr/>
      </dsp:nvSpPr>
      <dsp:spPr>
        <a:xfrm>
          <a:off x="129198" y="301752"/>
          <a:ext cx="1674723" cy="1674723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E272FA-9E52-409D-882A-83C182F2C61E}">
      <dsp:nvSpPr>
        <dsp:cNvPr id="0" name=""/>
        <dsp:cNvSpPr/>
      </dsp:nvSpPr>
      <dsp:spPr>
        <a:xfrm>
          <a:off x="1990960" y="0"/>
          <a:ext cx="1932830" cy="50291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400" kern="1200" dirty="0">
            <a:solidFill>
              <a:schemeClr val="tx1"/>
            </a:solidFill>
          </a:endParaRPr>
        </a:p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No criminal activity in unit, common area or grounds</a:t>
          </a:r>
        </a:p>
      </dsp:txBody>
      <dsp:txXfrm>
        <a:off x="1990960" y="2011680"/>
        <a:ext cx="1932830" cy="2011680"/>
      </dsp:txXfrm>
    </dsp:sp>
    <dsp:sp modelId="{06C4C627-2371-4CAA-B558-EC8598DB886B}">
      <dsp:nvSpPr>
        <dsp:cNvPr id="0" name=""/>
        <dsp:cNvSpPr/>
      </dsp:nvSpPr>
      <dsp:spPr>
        <a:xfrm>
          <a:off x="2120014" y="301752"/>
          <a:ext cx="1674723" cy="1674723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0" r="-10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989BE4-B7C2-41CE-A46B-83AE159B1A7D}">
      <dsp:nvSpPr>
        <dsp:cNvPr id="0" name=""/>
        <dsp:cNvSpPr/>
      </dsp:nvSpPr>
      <dsp:spPr>
        <a:xfrm>
          <a:off x="3981776" y="0"/>
          <a:ext cx="1932830" cy="50291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Keep unit clean</a:t>
          </a:r>
        </a:p>
      </dsp:txBody>
      <dsp:txXfrm>
        <a:off x="3981776" y="2011680"/>
        <a:ext cx="1932830" cy="2011680"/>
      </dsp:txXfrm>
    </dsp:sp>
    <dsp:sp modelId="{3C68751B-E57F-472B-A2F2-E7693F69D065}">
      <dsp:nvSpPr>
        <dsp:cNvPr id="0" name=""/>
        <dsp:cNvSpPr/>
      </dsp:nvSpPr>
      <dsp:spPr>
        <a:xfrm>
          <a:off x="4110830" y="301752"/>
          <a:ext cx="1674723" cy="1674723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8000" b="-8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A341282-75A7-48E6-865D-E17684E26475}">
      <dsp:nvSpPr>
        <dsp:cNvPr id="0" name=""/>
        <dsp:cNvSpPr/>
      </dsp:nvSpPr>
      <dsp:spPr>
        <a:xfrm>
          <a:off x="5972592" y="0"/>
          <a:ext cx="1932830" cy="50291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Dispose of garbage &amp; waste correctly</a:t>
          </a:r>
        </a:p>
      </dsp:txBody>
      <dsp:txXfrm>
        <a:off x="5972592" y="2011680"/>
        <a:ext cx="1932830" cy="2011680"/>
      </dsp:txXfrm>
    </dsp:sp>
    <dsp:sp modelId="{8E745A5E-01F3-48EA-95AA-3F89A9A8FCAE}">
      <dsp:nvSpPr>
        <dsp:cNvPr id="0" name=""/>
        <dsp:cNvSpPr/>
      </dsp:nvSpPr>
      <dsp:spPr>
        <a:xfrm>
          <a:off x="6101646" y="301752"/>
          <a:ext cx="1674723" cy="1674723"/>
        </a:xfrm>
        <a:prstGeom prst="ellipse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7000" r="-17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CDAAD6-CD09-4242-ACDA-60D184E5F2F8}">
      <dsp:nvSpPr>
        <dsp:cNvPr id="0" name=""/>
        <dsp:cNvSpPr/>
      </dsp:nvSpPr>
      <dsp:spPr>
        <a:xfrm>
          <a:off x="7963408" y="0"/>
          <a:ext cx="1932830" cy="50291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400" kern="1200" dirty="0">
            <a:solidFill>
              <a:schemeClr val="tx1"/>
            </a:solidFill>
          </a:endParaRPr>
        </a:p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Make required rental payment to landlord on time</a:t>
          </a:r>
        </a:p>
      </dsp:txBody>
      <dsp:txXfrm>
        <a:off x="7963408" y="2011680"/>
        <a:ext cx="1932830" cy="2011680"/>
      </dsp:txXfrm>
    </dsp:sp>
    <dsp:sp modelId="{0DE3951F-8EC6-4C32-BCDC-27EDCCB07963}">
      <dsp:nvSpPr>
        <dsp:cNvPr id="0" name=""/>
        <dsp:cNvSpPr/>
      </dsp:nvSpPr>
      <dsp:spPr>
        <a:xfrm>
          <a:off x="8092461" y="301752"/>
          <a:ext cx="1674723" cy="1674723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8000" r="-78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204AEF8-074C-4D5A-96D0-1587B4B8A397}">
      <dsp:nvSpPr>
        <dsp:cNvPr id="0" name=""/>
        <dsp:cNvSpPr/>
      </dsp:nvSpPr>
      <dsp:spPr>
        <a:xfrm>
          <a:off x="9954224" y="0"/>
          <a:ext cx="1932830" cy="50291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0472" tIns="220472" rIns="220472" bIns="220472" numCol="1" spcCol="1270" anchor="ctr" anchorCtr="0">
          <a:noAutofit/>
        </a:bodyPr>
        <a:lstStyle/>
        <a:p>
          <a:pPr marL="0" lvl="0" indent="0" algn="ctr" defTabSz="13779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100" kern="1200" dirty="0">
              <a:solidFill>
                <a:schemeClr val="tx1"/>
              </a:solidFill>
            </a:rPr>
            <a:t>Keep utilities current and paid</a:t>
          </a:r>
        </a:p>
      </dsp:txBody>
      <dsp:txXfrm>
        <a:off x="9954224" y="2011680"/>
        <a:ext cx="1932830" cy="2011680"/>
      </dsp:txXfrm>
    </dsp:sp>
    <dsp:sp modelId="{D2663736-95CF-460D-BD4A-E4574B1AD403}">
      <dsp:nvSpPr>
        <dsp:cNvPr id="0" name=""/>
        <dsp:cNvSpPr/>
      </dsp:nvSpPr>
      <dsp:spPr>
        <a:xfrm>
          <a:off x="10083277" y="301752"/>
          <a:ext cx="1674723" cy="1674723"/>
        </a:xfrm>
        <a:prstGeom prst="ellipse">
          <a:avLst/>
        </a:prstGeom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61BDA1-8AE6-4052-BF25-CD103991CE0F}">
      <dsp:nvSpPr>
        <dsp:cNvPr id="0" name=""/>
        <dsp:cNvSpPr/>
      </dsp:nvSpPr>
      <dsp:spPr>
        <a:xfrm>
          <a:off x="504687" y="4274820"/>
          <a:ext cx="10936224" cy="754380"/>
        </a:xfrm>
        <a:prstGeom prst="leftRightArrow">
          <a:avLst/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2B2830-70C1-40B2-B8A9-C7659A6919AB}">
      <dsp:nvSpPr>
        <dsp:cNvPr id="0" name=""/>
        <dsp:cNvSpPr/>
      </dsp:nvSpPr>
      <dsp:spPr>
        <a:xfrm>
          <a:off x="0" y="1628"/>
          <a:ext cx="861441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8FF66E-836B-4B17-944D-72039DB2AE02}">
      <dsp:nvSpPr>
        <dsp:cNvPr id="0" name=""/>
        <dsp:cNvSpPr/>
      </dsp:nvSpPr>
      <dsp:spPr>
        <a:xfrm>
          <a:off x="0" y="1628"/>
          <a:ext cx="8614410" cy="8234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Assertive engagement using motivational techniques </a:t>
          </a:r>
        </a:p>
      </dsp:txBody>
      <dsp:txXfrm>
        <a:off x="0" y="1628"/>
        <a:ext cx="8614410" cy="823458"/>
      </dsp:txXfrm>
    </dsp:sp>
    <dsp:sp modelId="{2DF3CEA0-DF5C-402C-A465-AA65F5650436}">
      <dsp:nvSpPr>
        <dsp:cNvPr id="0" name=""/>
        <dsp:cNvSpPr/>
      </dsp:nvSpPr>
      <dsp:spPr>
        <a:xfrm>
          <a:off x="0" y="825086"/>
          <a:ext cx="861441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99F27DB-A2EB-4674-9C53-059AD96E6666}">
      <dsp:nvSpPr>
        <dsp:cNvPr id="0" name=""/>
        <dsp:cNvSpPr/>
      </dsp:nvSpPr>
      <dsp:spPr>
        <a:xfrm>
          <a:off x="0" y="825086"/>
          <a:ext cx="8614410" cy="8234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Comprehensive assessment and housing stabilization planning</a:t>
          </a:r>
        </a:p>
      </dsp:txBody>
      <dsp:txXfrm>
        <a:off x="0" y="825086"/>
        <a:ext cx="8614410" cy="823458"/>
      </dsp:txXfrm>
    </dsp:sp>
    <dsp:sp modelId="{DDF900B1-F89C-4DF3-A706-61B1B08A5755}">
      <dsp:nvSpPr>
        <dsp:cNvPr id="0" name=""/>
        <dsp:cNvSpPr/>
      </dsp:nvSpPr>
      <dsp:spPr>
        <a:xfrm>
          <a:off x="0" y="1648545"/>
          <a:ext cx="861441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ADFF1DE-E389-4659-8804-0B7E62EF09DF}">
      <dsp:nvSpPr>
        <dsp:cNvPr id="0" name=""/>
        <dsp:cNvSpPr/>
      </dsp:nvSpPr>
      <dsp:spPr>
        <a:xfrm>
          <a:off x="0" y="1648545"/>
          <a:ext cx="8614410" cy="8234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Person-centered and recovery oriented</a:t>
          </a:r>
        </a:p>
      </dsp:txBody>
      <dsp:txXfrm>
        <a:off x="0" y="1648545"/>
        <a:ext cx="8614410" cy="823458"/>
      </dsp:txXfrm>
    </dsp:sp>
    <dsp:sp modelId="{C55B8455-1C85-4453-ACEB-9CAB78A474AD}">
      <dsp:nvSpPr>
        <dsp:cNvPr id="0" name=""/>
        <dsp:cNvSpPr/>
      </dsp:nvSpPr>
      <dsp:spPr>
        <a:xfrm>
          <a:off x="0" y="2472003"/>
          <a:ext cx="861441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D1D633-7CB0-4C92-AB0C-DB52D5C5A355}">
      <dsp:nvSpPr>
        <dsp:cNvPr id="0" name=""/>
        <dsp:cNvSpPr/>
      </dsp:nvSpPr>
      <dsp:spPr>
        <a:xfrm>
          <a:off x="0" y="2472003"/>
          <a:ext cx="8614410" cy="8234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Based in the community and in the home</a:t>
          </a:r>
        </a:p>
      </dsp:txBody>
      <dsp:txXfrm>
        <a:off x="0" y="2472003"/>
        <a:ext cx="8614410" cy="823458"/>
      </dsp:txXfrm>
    </dsp:sp>
    <dsp:sp modelId="{244248A3-6BBE-49AD-AD66-7292BA01B10A}">
      <dsp:nvSpPr>
        <dsp:cNvPr id="0" name=""/>
        <dsp:cNvSpPr/>
      </dsp:nvSpPr>
      <dsp:spPr>
        <a:xfrm>
          <a:off x="0" y="3295462"/>
          <a:ext cx="861441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76A08E0-F4AA-451F-A930-8DE2A365728E}">
      <dsp:nvSpPr>
        <dsp:cNvPr id="0" name=""/>
        <dsp:cNvSpPr/>
      </dsp:nvSpPr>
      <dsp:spPr>
        <a:xfrm>
          <a:off x="0" y="3295462"/>
          <a:ext cx="8605997" cy="11467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t" anchorCtr="0">
          <a:noAutofit/>
        </a:bodyPr>
        <a:lstStyle/>
        <a:p>
          <a:pPr marL="0" lvl="0" indent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Links to Community Supports: social, spiritual, libraries, sports, arts, recreation</a:t>
          </a:r>
          <a:endParaRPr lang="en-US" sz="2400" u="sng" kern="1200" dirty="0">
            <a:solidFill>
              <a:schemeClr val="tx1"/>
            </a:solidFill>
          </a:endParaRPr>
        </a:p>
      </dsp:txBody>
      <dsp:txXfrm>
        <a:off x="0" y="3295462"/>
        <a:ext cx="8605997" cy="114676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6BEEB6F-B701-473E-AFB0-14F6897F87F3}">
      <dsp:nvSpPr>
        <dsp:cNvPr id="0" name=""/>
        <dsp:cNvSpPr/>
      </dsp:nvSpPr>
      <dsp:spPr>
        <a:xfrm>
          <a:off x="0" y="0"/>
          <a:ext cx="4402134" cy="4402134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0F4F28D-D9CD-4FEB-9DB3-968CFAB67366}">
      <dsp:nvSpPr>
        <dsp:cNvPr id="0" name=""/>
        <dsp:cNvSpPr/>
      </dsp:nvSpPr>
      <dsp:spPr>
        <a:xfrm>
          <a:off x="2201067" y="0"/>
          <a:ext cx="6257132" cy="4402134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Quick access and low barrier on entry</a:t>
          </a:r>
        </a:p>
      </dsp:txBody>
      <dsp:txXfrm>
        <a:off x="2201067" y="0"/>
        <a:ext cx="6257132" cy="704341"/>
      </dsp:txXfrm>
    </dsp:sp>
    <dsp:sp modelId="{03C74D23-A7E1-48AB-A14E-3C4CC852EC4A}">
      <dsp:nvSpPr>
        <dsp:cNvPr id="0" name=""/>
        <dsp:cNvSpPr/>
      </dsp:nvSpPr>
      <dsp:spPr>
        <a:xfrm>
          <a:off x="462224" y="704341"/>
          <a:ext cx="3477685" cy="3477685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D0DB9D-54D4-4203-BEDA-A86302A6A905}">
      <dsp:nvSpPr>
        <dsp:cNvPr id="0" name=""/>
        <dsp:cNvSpPr/>
      </dsp:nvSpPr>
      <dsp:spPr>
        <a:xfrm>
          <a:off x="2201067" y="704341"/>
          <a:ext cx="6257132" cy="347768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Separation of housing and support services functions</a:t>
          </a:r>
        </a:p>
      </dsp:txBody>
      <dsp:txXfrm>
        <a:off x="2201067" y="704341"/>
        <a:ext cx="6257132" cy="704341"/>
      </dsp:txXfrm>
    </dsp:sp>
    <dsp:sp modelId="{CD83043F-D17D-4DC9-917E-BC434B09C950}">
      <dsp:nvSpPr>
        <dsp:cNvPr id="0" name=""/>
        <dsp:cNvSpPr/>
      </dsp:nvSpPr>
      <dsp:spPr>
        <a:xfrm>
          <a:off x="924448" y="1408682"/>
          <a:ext cx="2553237" cy="2553237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623D5D6-F055-4D22-A00C-1F3777FCE5D3}">
      <dsp:nvSpPr>
        <dsp:cNvPr id="0" name=""/>
        <dsp:cNvSpPr/>
      </dsp:nvSpPr>
      <dsp:spPr>
        <a:xfrm>
          <a:off x="2201067" y="1408682"/>
          <a:ext cx="6257132" cy="255323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Teach tenancy skills and prevent eviction</a:t>
          </a:r>
        </a:p>
      </dsp:txBody>
      <dsp:txXfrm>
        <a:off x="2201067" y="1408682"/>
        <a:ext cx="6257132" cy="704341"/>
      </dsp:txXfrm>
    </dsp:sp>
    <dsp:sp modelId="{D6C00C7D-6A5A-4B91-9DB2-A38592D84A6E}">
      <dsp:nvSpPr>
        <dsp:cNvPr id="0" name=""/>
        <dsp:cNvSpPr/>
      </dsp:nvSpPr>
      <dsp:spPr>
        <a:xfrm>
          <a:off x="1386672" y="2113024"/>
          <a:ext cx="1628789" cy="1628789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7138CF-0BEB-434F-9144-D1A93DE2C51A}">
      <dsp:nvSpPr>
        <dsp:cNvPr id="0" name=""/>
        <dsp:cNvSpPr/>
      </dsp:nvSpPr>
      <dsp:spPr>
        <a:xfrm>
          <a:off x="2201067" y="2113024"/>
          <a:ext cx="6257132" cy="162878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Help increase income</a:t>
          </a:r>
        </a:p>
      </dsp:txBody>
      <dsp:txXfrm>
        <a:off x="2201067" y="2113024"/>
        <a:ext cx="6257132" cy="704341"/>
      </dsp:txXfrm>
    </dsp:sp>
    <dsp:sp modelId="{C2AFC3E0-360F-4E20-8795-4563106DBB36}">
      <dsp:nvSpPr>
        <dsp:cNvPr id="0" name=""/>
        <dsp:cNvSpPr/>
      </dsp:nvSpPr>
      <dsp:spPr>
        <a:xfrm>
          <a:off x="1848896" y="2817365"/>
          <a:ext cx="704341" cy="704341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D5BE67-AD90-4AF8-9792-E1AE9CA4ECC2}">
      <dsp:nvSpPr>
        <dsp:cNvPr id="0" name=""/>
        <dsp:cNvSpPr/>
      </dsp:nvSpPr>
      <dsp:spPr>
        <a:xfrm>
          <a:off x="2201067" y="2817365"/>
          <a:ext cx="6257132" cy="704341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Support choice, connect to community resources and supports</a:t>
          </a:r>
        </a:p>
      </dsp:txBody>
      <dsp:txXfrm>
        <a:off x="2201067" y="2817365"/>
        <a:ext cx="6257132" cy="70434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0C48153-4342-47BF-98D4-1CF86FBED71C}">
      <dsp:nvSpPr>
        <dsp:cNvPr id="0" name=""/>
        <dsp:cNvSpPr/>
      </dsp:nvSpPr>
      <dsp:spPr>
        <a:xfrm>
          <a:off x="0" y="0"/>
          <a:ext cx="4708887" cy="4708887"/>
        </a:xfrm>
        <a:prstGeom prst="pie">
          <a:avLst>
            <a:gd name="adj1" fmla="val 5400000"/>
            <a:gd name="adj2" fmla="val 162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C3F8EDD-B76C-450B-B936-3DA1DBDD9A9C}">
      <dsp:nvSpPr>
        <dsp:cNvPr id="0" name=""/>
        <dsp:cNvSpPr/>
      </dsp:nvSpPr>
      <dsp:spPr>
        <a:xfrm>
          <a:off x="2354443" y="0"/>
          <a:ext cx="8093313" cy="4708887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7640" tIns="167640" rIns="167640" bIns="167640" numCol="1" spcCol="1270" anchor="ctr" anchorCtr="0">
          <a:noAutofit/>
        </a:bodyPr>
        <a:lstStyle/>
        <a:p>
          <a:pPr marL="0" lvl="0" indent="0" algn="ctr" defTabSz="1955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400" kern="1200" dirty="0"/>
            <a:t>Harm Reduction is a perspective and a set of practical strategies to reduce the negative consequences of drug use, incorporating a spectrum of strategies from safer use to abstinence.</a:t>
          </a:r>
        </a:p>
      </dsp:txBody>
      <dsp:txXfrm>
        <a:off x="2354443" y="0"/>
        <a:ext cx="8093313" cy="4708887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25A991-CABE-4965-AF4C-DF59FEC3A98A}">
      <dsp:nvSpPr>
        <dsp:cNvPr id="0" name=""/>
        <dsp:cNvSpPr/>
      </dsp:nvSpPr>
      <dsp:spPr>
        <a:xfrm>
          <a:off x="624" y="290564"/>
          <a:ext cx="2787725" cy="16726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1"/>
              </a:solidFill>
            </a:rPr>
            <a:t>Consumer identifies goals and path to achieve them</a:t>
          </a:r>
        </a:p>
      </dsp:txBody>
      <dsp:txXfrm>
        <a:off x="49614" y="339554"/>
        <a:ext cx="2689745" cy="1574655"/>
      </dsp:txXfrm>
    </dsp:sp>
    <dsp:sp modelId="{23EF6F4A-02D1-4D55-A655-0215B219BAF1}">
      <dsp:nvSpPr>
        <dsp:cNvPr id="0" name=""/>
        <dsp:cNvSpPr/>
      </dsp:nvSpPr>
      <dsp:spPr>
        <a:xfrm rot="21544181">
          <a:off x="3042969" y="749453"/>
          <a:ext cx="613580" cy="69135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>
            <a:solidFill>
              <a:schemeClr val="tx1"/>
            </a:solidFill>
          </a:endParaRPr>
        </a:p>
      </dsp:txBody>
      <dsp:txXfrm>
        <a:off x="3042981" y="889218"/>
        <a:ext cx="429506" cy="414813"/>
      </dsp:txXfrm>
    </dsp:sp>
    <dsp:sp modelId="{029C8D2F-4D9F-4933-8F46-7AC05A09D477}">
      <dsp:nvSpPr>
        <dsp:cNvPr id="0" name=""/>
        <dsp:cNvSpPr/>
      </dsp:nvSpPr>
      <dsp:spPr>
        <a:xfrm>
          <a:off x="3945896" y="224144"/>
          <a:ext cx="3077704" cy="1672635"/>
        </a:xfrm>
        <a:prstGeom prst="roundRect">
          <a:avLst>
            <a:gd name="adj" fmla="val 10000"/>
          </a:avLst>
        </a:prstGeom>
        <a:solidFill>
          <a:srgbClr val="FFC000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 dirty="0">
              <a:solidFill>
                <a:schemeClr val="tx1"/>
              </a:solidFill>
            </a:rPr>
            <a:t>Raises awareness of risk and strategies to reduce harm</a:t>
          </a:r>
        </a:p>
      </dsp:txBody>
      <dsp:txXfrm>
        <a:off x="3994886" y="273134"/>
        <a:ext cx="2979724" cy="1574655"/>
      </dsp:txXfrm>
    </dsp:sp>
    <dsp:sp modelId="{CAD6CB11-138F-47F6-A748-3220785CA7DA}">
      <dsp:nvSpPr>
        <dsp:cNvPr id="0" name=""/>
        <dsp:cNvSpPr/>
      </dsp:nvSpPr>
      <dsp:spPr>
        <a:xfrm rot="21562251">
          <a:off x="7234033" y="692790"/>
          <a:ext cx="507018" cy="69135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>
            <a:solidFill>
              <a:schemeClr val="tx1"/>
            </a:solidFill>
          </a:endParaRPr>
        </a:p>
      </dsp:txBody>
      <dsp:txXfrm>
        <a:off x="7234038" y="831896"/>
        <a:ext cx="354913" cy="414813"/>
      </dsp:txXfrm>
    </dsp:sp>
    <dsp:sp modelId="{EAAAC3BC-4FB9-496A-91F3-E6C800E2ECD5}">
      <dsp:nvSpPr>
        <dsp:cNvPr id="0" name=""/>
        <dsp:cNvSpPr/>
      </dsp:nvSpPr>
      <dsp:spPr>
        <a:xfrm>
          <a:off x="7980181" y="58896"/>
          <a:ext cx="3075864" cy="191454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1"/>
              </a:solidFill>
            </a:rPr>
            <a:t>Abstinence may be a goal, but alternatives that reduce risk are equally valued</a:t>
          </a:r>
        </a:p>
      </dsp:txBody>
      <dsp:txXfrm>
        <a:off x="8036256" y="114971"/>
        <a:ext cx="2963714" cy="1802398"/>
      </dsp:txXfrm>
    </dsp:sp>
    <dsp:sp modelId="{F2A11637-943C-4094-925C-47448FCB5A08}">
      <dsp:nvSpPr>
        <dsp:cNvPr id="0" name=""/>
        <dsp:cNvSpPr/>
      </dsp:nvSpPr>
      <dsp:spPr>
        <a:xfrm rot="5104565">
          <a:off x="9325760" y="2222280"/>
          <a:ext cx="652081" cy="69135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>
            <a:solidFill>
              <a:schemeClr val="tx1"/>
            </a:solidFill>
          </a:endParaRPr>
        </a:p>
      </dsp:txBody>
      <dsp:txXfrm rot="-5400000">
        <a:off x="9435999" y="2242278"/>
        <a:ext cx="414813" cy="456457"/>
      </dsp:txXfrm>
    </dsp:sp>
    <dsp:sp modelId="{ED424861-FDF2-4971-B755-3DDFA3A37132}">
      <dsp:nvSpPr>
        <dsp:cNvPr id="0" name=""/>
        <dsp:cNvSpPr/>
      </dsp:nvSpPr>
      <dsp:spPr>
        <a:xfrm>
          <a:off x="8384373" y="3199246"/>
          <a:ext cx="2787725" cy="1672635"/>
        </a:xfrm>
        <a:prstGeom prst="roundRect">
          <a:avLst>
            <a:gd name="adj" fmla="val 10000"/>
          </a:avLst>
        </a:prstGeom>
        <a:solidFill>
          <a:srgbClr val="FFC000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1"/>
              </a:solidFill>
            </a:rPr>
            <a:t>Does not condone risks that can cause serious harm</a:t>
          </a:r>
        </a:p>
      </dsp:txBody>
      <dsp:txXfrm>
        <a:off x="8433363" y="3248236"/>
        <a:ext cx="2689745" cy="1574655"/>
      </dsp:txXfrm>
    </dsp:sp>
    <dsp:sp modelId="{D5A095A4-DFCC-4888-AB45-53F07D11D399}">
      <dsp:nvSpPr>
        <dsp:cNvPr id="0" name=""/>
        <dsp:cNvSpPr/>
      </dsp:nvSpPr>
      <dsp:spPr>
        <a:xfrm rot="10800000">
          <a:off x="7548055" y="3689886"/>
          <a:ext cx="590997" cy="69135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>
            <a:solidFill>
              <a:schemeClr val="tx1"/>
            </a:solidFill>
          </a:endParaRPr>
        </a:p>
      </dsp:txBody>
      <dsp:txXfrm rot="10800000">
        <a:off x="7725354" y="3828157"/>
        <a:ext cx="413698" cy="414813"/>
      </dsp:txXfrm>
    </dsp:sp>
    <dsp:sp modelId="{631E0BC6-2AF5-40B8-8428-842911DBFAC2}">
      <dsp:nvSpPr>
        <dsp:cNvPr id="0" name=""/>
        <dsp:cNvSpPr/>
      </dsp:nvSpPr>
      <dsp:spPr>
        <a:xfrm>
          <a:off x="4481558" y="3199246"/>
          <a:ext cx="2787725" cy="167263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1"/>
              </a:solidFill>
            </a:rPr>
            <a:t>Recovery as non-linear process</a:t>
          </a:r>
        </a:p>
      </dsp:txBody>
      <dsp:txXfrm>
        <a:off x="4530548" y="3248236"/>
        <a:ext cx="2689745" cy="1574655"/>
      </dsp:txXfrm>
    </dsp:sp>
    <dsp:sp modelId="{BC5A8B22-3364-47BC-92DE-BEDCDB525A23}">
      <dsp:nvSpPr>
        <dsp:cNvPr id="0" name=""/>
        <dsp:cNvSpPr/>
      </dsp:nvSpPr>
      <dsp:spPr>
        <a:xfrm rot="10800000">
          <a:off x="3645240" y="3689886"/>
          <a:ext cx="590997" cy="69135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100" kern="1200"/>
        </a:p>
      </dsp:txBody>
      <dsp:txXfrm rot="10800000">
        <a:off x="3822539" y="3828157"/>
        <a:ext cx="413698" cy="414813"/>
      </dsp:txXfrm>
    </dsp:sp>
    <dsp:sp modelId="{CDE09CE3-A534-4D3E-997F-1E45A2C0F8FD}">
      <dsp:nvSpPr>
        <dsp:cNvPr id="0" name=""/>
        <dsp:cNvSpPr/>
      </dsp:nvSpPr>
      <dsp:spPr>
        <a:xfrm>
          <a:off x="578742" y="3199246"/>
          <a:ext cx="2787725" cy="1672635"/>
        </a:xfrm>
        <a:prstGeom prst="roundRect">
          <a:avLst>
            <a:gd name="adj" fmla="val 10000"/>
          </a:avLst>
        </a:prstGeom>
        <a:solidFill>
          <a:srgbClr val="FFC000"/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1"/>
              </a:solidFill>
            </a:rPr>
            <a:t>Highly accessible: low barriers, informal </a:t>
          </a:r>
          <a:endParaRPr lang="en-US" sz="2800" kern="1200" dirty="0">
            <a:solidFill>
              <a:schemeClr val="tx1"/>
            </a:solidFill>
          </a:endParaRPr>
        </a:p>
      </dsp:txBody>
      <dsp:txXfrm>
        <a:off x="627732" y="3248236"/>
        <a:ext cx="2689745" cy="157465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9D0381-800A-4EBD-91F9-2040F01B3C1E}">
      <dsp:nvSpPr>
        <dsp:cNvPr id="0" name=""/>
        <dsp:cNvSpPr/>
      </dsp:nvSpPr>
      <dsp:spPr>
        <a:xfrm>
          <a:off x="0" y="0"/>
          <a:ext cx="10536248" cy="220433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167640" rIns="167640" bIns="167640" numCol="1" spcCol="1270" anchor="ctr" anchorCtr="0">
          <a:noAutofit/>
        </a:bodyPr>
        <a:lstStyle/>
        <a:p>
          <a:pPr marL="0" lvl="0" indent="0" algn="l" defTabSz="1955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400" kern="1200" dirty="0">
              <a:solidFill>
                <a:schemeClr val="tx1"/>
              </a:solidFill>
            </a:rPr>
            <a:t>Discuss issues in terms of benefits and costs/consequences</a:t>
          </a:r>
        </a:p>
        <a:p>
          <a:pPr marL="0" lvl="0" indent="0" algn="l" defTabSz="1955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400" kern="1200" dirty="0">
              <a:solidFill>
                <a:schemeClr val="tx1"/>
              </a:solidFill>
            </a:rPr>
            <a:t>(Of changing and not changing)</a:t>
          </a:r>
        </a:p>
      </dsp:txBody>
      <dsp:txXfrm>
        <a:off x="2327682" y="0"/>
        <a:ext cx="8208565" cy="2204332"/>
      </dsp:txXfrm>
    </dsp:sp>
    <dsp:sp modelId="{449E5FCC-3CB9-4BD1-BF94-24FB2FE993AF}">
      <dsp:nvSpPr>
        <dsp:cNvPr id="0" name=""/>
        <dsp:cNvSpPr/>
      </dsp:nvSpPr>
      <dsp:spPr>
        <a:xfrm>
          <a:off x="220433" y="220433"/>
          <a:ext cx="2107249" cy="176346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50000" b="-50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9EFF448-8A8B-4A03-A068-98D96940AA45}">
      <dsp:nvSpPr>
        <dsp:cNvPr id="0" name=""/>
        <dsp:cNvSpPr/>
      </dsp:nvSpPr>
      <dsp:spPr>
        <a:xfrm>
          <a:off x="0" y="2424765"/>
          <a:ext cx="10536248" cy="220433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67640" tIns="167640" rIns="167640" bIns="167640" numCol="1" spcCol="1270" anchor="ctr" anchorCtr="0">
          <a:noAutofit/>
        </a:bodyPr>
        <a:lstStyle/>
        <a:p>
          <a:pPr marL="0" lvl="0" indent="0" algn="l" defTabSz="1955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4400" kern="1200" dirty="0">
              <a:solidFill>
                <a:schemeClr val="tx1"/>
              </a:solidFill>
            </a:rPr>
            <a:t>Harm reduction is not applied in imminent risk situations – worker needs to be assertive</a:t>
          </a:r>
        </a:p>
      </dsp:txBody>
      <dsp:txXfrm>
        <a:off x="2327682" y="2424765"/>
        <a:ext cx="8208565" cy="2204332"/>
      </dsp:txXfrm>
    </dsp:sp>
    <dsp:sp modelId="{9C1A9DF6-2307-4576-8D4C-3755AFDC1EF2}">
      <dsp:nvSpPr>
        <dsp:cNvPr id="0" name=""/>
        <dsp:cNvSpPr/>
      </dsp:nvSpPr>
      <dsp:spPr>
        <a:xfrm>
          <a:off x="220433" y="2645199"/>
          <a:ext cx="2107249" cy="1763466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62000" b="-62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18B049-D67B-4988-9344-A3EBDCD3147F}">
      <dsp:nvSpPr>
        <dsp:cNvPr id="0" name=""/>
        <dsp:cNvSpPr/>
      </dsp:nvSpPr>
      <dsp:spPr>
        <a:xfrm>
          <a:off x="222576" y="836456"/>
          <a:ext cx="5212633" cy="162894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3341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1"/>
              </a:solidFill>
            </a:rPr>
            <a:t>The expectations of a lease or the community do not change and apply to everyone</a:t>
          </a:r>
        </a:p>
      </dsp:txBody>
      <dsp:txXfrm>
        <a:off x="222576" y="836456"/>
        <a:ext cx="5212633" cy="1628947"/>
      </dsp:txXfrm>
    </dsp:sp>
    <dsp:sp modelId="{620BAEB3-1038-4BB1-80E8-D7524423D0B4}">
      <dsp:nvSpPr>
        <dsp:cNvPr id="0" name=""/>
        <dsp:cNvSpPr/>
      </dsp:nvSpPr>
      <dsp:spPr>
        <a:xfrm>
          <a:off x="5383" y="601164"/>
          <a:ext cx="1140263" cy="171039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22000" r="-122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128A02-72C3-4F56-9410-596AB9F59699}">
      <dsp:nvSpPr>
        <dsp:cNvPr id="0" name=""/>
        <dsp:cNvSpPr/>
      </dsp:nvSpPr>
      <dsp:spPr>
        <a:xfrm>
          <a:off x="5902267" y="836456"/>
          <a:ext cx="5212633" cy="162894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3341" tIns="99060" rIns="99060" bIns="99060" numCol="1" spcCol="1270" anchor="ctr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>
              <a:solidFill>
                <a:schemeClr val="tx1"/>
              </a:solidFill>
            </a:rPr>
            <a:t>Conditions of the lease must be made clear and consistently enforced</a:t>
          </a:r>
        </a:p>
      </dsp:txBody>
      <dsp:txXfrm>
        <a:off x="5902267" y="836456"/>
        <a:ext cx="5212633" cy="1628947"/>
      </dsp:txXfrm>
    </dsp:sp>
    <dsp:sp modelId="{0040D460-467A-47B4-B44E-2E2EE072AC0A}">
      <dsp:nvSpPr>
        <dsp:cNvPr id="0" name=""/>
        <dsp:cNvSpPr/>
      </dsp:nvSpPr>
      <dsp:spPr>
        <a:xfrm>
          <a:off x="5685074" y="601164"/>
          <a:ext cx="1140263" cy="1710395"/>
        </a:xfrm>
        <a:prstGeom prst="rect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6000" r="-26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2E9B22-F1C4-4F93-87A5-8D780CEF27F0}">
      <dsp:nvSpPr>
        <dsp:cNvPr id="0" name=""/>
        <dsp:cNvSpPr/>
      </dsp:nvSpPr>
      <dsp:spPr>
        <a:xfrm>
          <a:off x="222576" y="2887120"/>
          <a:ext cx="5212633" cy="162894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3341" tIns="99060" rIns="99060" bIns="99060" numCol="1" spcCol="1270" anchor="ctr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>
              <a:solidFill>
                <a:schemeClr val="tx1"/>
              </a:solidFill>
            </a:rPr>
            <a:t>Lease violation issues will often be a reason to seek services</a:t>
          </a:r>
        </a:p>
      </dsp:txBody>
      <dsp:txXfrm>
        <a:off x="222576" y="2887120"/>
        <a:ext cx="5212633" cy="1628947"/>
      </dsp:txXfrm>
    </dsp:sp>
    <dsp:sp modelId="{67297E58-9494-4269-BE77-C78C69776EDE}">
      <dsp:nvSpPr>
        <dsp:cNvPr id="0" name=""/>
        <dsp:cNvSpPr/>
      </dsp:nvSpPr>
      <dsp:spPr>
        <a:xfrm>
          <a:off x="5383" y="2651828"/>
          <a:ext cx="1140263" cy="171039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8000" r="-68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BB3D960-5D1C-413F-9442-F795D0E0A4CD}">
      <dsp:nvSpPr>
        <dsp:cNvPr id="0" name=""/>
        <dsp:cNvSpPr/>
      </dsp:nvSpPr>
      <dsp:spPr>
        <a:xfrm>
          <a:off x="5902267" y="2887120"/>
          <a:ext cx="5212633" cy="162894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3341" tIns="99060" rIns="99060" bIns="99060" numCol="1" spcCol="1270" anchor="ctr" anchorCtr="0">
          <a:noAutofit/>
        </a:bodyPr>
        <a:lstStyle/>
        <a:p>
          <a:pPr marL="0" lvl="0" indent="0" algn="l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 dirty="0">
              <a:solidFill>
                <a:schemeClr val="tx1"/>
              </a:solidFill>
            </a:rPr>
            <a:t>Workers focus on BEHAVIORS that interfere with functioning as a tenant and as a member of the community</a:t>
          </a:r>
        </a:p>
      </dsp:txBody>
      <dsp:txXfrm>
        <a:off x="5902267" y="2887120"/>
        <a:ext cx="5212633" cy="1628947"/>
      </dsp:txXfrm>
    </dsp:sp>
    <dsp:sp modelId="{A6EC5B37-DCA6-48E9-857A-142FDCF33370}">
      <dsp:nvSpPr>
        <dsp:cNvPr id="0" name=""/>
        <dsp:cNvSpPr/>
      </dsp:nvSpPr>
      <dsp:spPr>
        <a:xfrm>
          <a:off x="5685074" y="2651828"/>
          <a:ext cx="1140263" cy="1710395"/>
        </a:xfrm>
        <a:prstGeom prst="rect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0000" r="-50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54E354-6BD0-4B24-98A5-0EAF95968BE5}">
      <dsp:nvSpPr>
        <dsp:cNvPr id="0" name=""/>
        <dsp:cNvSpPr/>
      </dsp:nvSpPr>
      <dsp:spPr>
        <a:xfrm>
          <a:off x="1034063" y="22472"/>
          <a:ext cx="4452937" cy="2207223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42538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1"/>
              </a:solidFill>
            </a:rPr>
            <a:t>Right to live in decent, safe, and sanitary housing free from environmental hazards such as lead based paint</a:t>
          </a:r>
        </a:p>
      </dsp:txBody>
      <dsp:txXfrm>
        <a:off x="1034063" y="22472"/>
        <a:ext cx="4452937" cy="2207223"/>
      </dsp:txXfrm>
    </dsp:sp>
    <dsp:sp modelId="{BD7C422A-5ED5-45B6-BBD5-F937B81A31B8}">
      <dsp:nvSpPr>
        <dsp:cNvPr id="0" name=""/>
        <dsp:cNvSpPr/>
      </dsp:nvSpPr>
      <dsp:spPr>
        <a:xfrm>
          <a:off x="769984" y="274227"/>
          <a:ext cx="974080" cy="1461120"/>
        </a:xfrm>
        <a:prstGeom prst="rect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0000" r="-50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9607EDE-88D2-45CF-A173-5CAA5E66E545}">
      <dsp:nvSpPr>
        <dsp:cNvPr id="0" name=""/>
        <dsp:cNvSpPr/>
      </dsp:nvSpPr>
      <dsp:spPr>
        <a:xfrm>
          <a:off x="5874538" y="22472"/>
          <a:ext cx="4452937" cy="2207223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42538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1"/>
              </a:solidFill>
            </a:rPr>
            <a:t>Right to have repairs in</a:t>
          </a:r>
          <a:r>
            <a:rPr lang="en-US" sz="2000" kern="1200" dirty="0">
              <a:solidFill>
                <a:schemeClr val="bg2"/>
              </a:solidFill>
            </a:rPr>
            <a:t> </a:t>
          </a:r>
          <a:r>
            <a:rPr lang="en-US" sz="2000" kern="1200" dirty="0">
              <a:solidFill>
                <a:schemeClr val="tx1"/>
              </a:solidFill>
            </a:rPr>
            <a:t>a timely manner</a:t>
          </a:r>
        </a:p>
      </dsp:txBody>
      <dsp:txXfrm>
        <a:off x="5874538" y="22472"/>
        <a:ext cx="4452937" cy="2207223"/>
      </dsp:txXfrm>
    </dsp:sp>
    <dsp:sp modelId="{905B48CD-8E31-4F66-BCB6-2D82801BFC78}">
      <dsp:nvSpPr>
        <dsp:cNvPr id="0" name=""/>
        <dsp:cNvSpPr/>
      </dsp:nvSpPr>
      <dsp:spPr>
        <a:xfrm>
          <a:off x="5660809" y="274227"/>
          <a:ext cx="974080" cy="1461120"/>
        </a:xfrm>
        <a:prstGeom prst="rect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239E5DF-6DF8-4524-9806-838B947BB76D}">
      <dsp:nvSpPr>
        <dsp:cNvPr id="0" name=""/>
        <dsp:cNvSpPr/>
      </dsp:nvSpPr>
      <dsp:spPr>
        <a:xfrm>
          <a:off x="1034063" y="2420114"/>
          <a:ext cx="4452937" cy="2393217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42538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1"/>
              </a:solidFill>
            </a:rPr>
            <a:t>Right to reasonable notice in writing of any non-emergency inspection or entry into unit. </a:t>
          </a:r>
        </a:p>
      </dsp:txBody>
      <dsp:txXfrm>
        <a:off x="1034063" y="2420114"/>
        <a:ext cx="4452937" cy="2393217"/>
      </dsp:txXfrm>
    </dsp:sp>
    <dsp:sp modelId="{94A75838-D275-41E9-81BA-E5A8837CD318}">
      <dsp:nvSpPr>
        <dsp:cNvPr id="0" name=""/>
        <dsp:cNvSpPr/>
      </dsp:nvSpPr>
      <dsp:spPr>
        <a:xfrm>
          <a:off x="848524" y="2719950"/>
          <a:ext cx="974080" cy="146112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4000" r="-104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139CC5-86CB-4BE6-BECC-B852E703061A}">
      <dsp:nvSpPr>
        <dsp:cNvPr id="0" name=""/>
        <dsp:cNvSpPr/>
      </dsp:nvSpPr>
      <dsp:spPr>
        <a:xfrm>
          <a:off x="5874538" y="2388950"/>
          <a:ext cx="4452937" cy="2455544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42538" tIns="76200" rIns="76200" bIns="7620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solidFill>
                <a:schemeClr val="tx1"/>
              </a:solidFill>
            </a:rPr>
            <a:t>If landlord is not maintaining apartment, can re-inspect and withhold payments until the apartment meets standards.  </a:t>
          </a:r>
        </a:p>
      </dsp:txBody>
      <dsp:txXfrm>
        <a:off x="5874538" y="2388950"/>
        <a:ext cx="4452937" cy="2455544"/>
      </dsp:txXfrm>
    </dsp:sp>
    <dsp:sp modelId="{E94EF968-ADAB-4133-8128-6087C62B3C8F}">
      <dsp:nvSpPr>
        <dsp:cNvPr id="0" name=""/>
        <dsp:cNvSpPr/>
      </dsp:nvSpPr>
      <dsp:spPr>
        <a:xfrm>
          <a:off x="5688999" y="2719950"/>
          <a:ext cx="974080" cy="1461120"/>
        </a:xfrm>
        <a:prstGeom prst="rect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41000" r="-41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BD10F3-2FEE-4501-AB0D-AF99FECDDC98}">
      <dsp:nvSpPr>
        <dsp:cNvPr id="0" name=""/>
        <dsp:cNvSpPr/>
      </dsp:nvSpPr>
      <dsp:spPr>
        <a:xfrm>
          <a:off x="0" y="0"/>
          <a:ext cx="10688320" cy="2195322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AE0515-4218-44B4-87B9-2BEB227E0432}">
      <dsp:nvSpPr>
        <dsp:cNvPr id="0" name=""/>
        <dsp:cNvSpPr/>
      </dsp:nvSpPr>
      <dsp:spPr>
        <a:xfrm>
          <a:off x="323593" y="292709"/>
          <a:ext cx="2335147" cy="1609903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4000" b="-24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77105A5-EDEA-4A7F-A5D2-3B6CDEAA075F}">
      <dsp:nvSpPr>
        <dsp:cNvPr id="0" name=""/>
        <dsp:cNvSpPr/>
      </dsp:nvSpPr>
      <dsp:spPr>
        <a:xfrm rot="10800000">
          <a:off x="323593" y="2195322"/>
          <a:ext cx="2335147" cy="2683171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Abide by terms of lease</a:t>
          </a:r>
        </a:p>
      </dsp:txBody>
      <dsp:txXfrm rot="10800000">
        <a:off x="395407" y="2195322"/>
        <a:ext cx="2191519" cy="2611357"/>
      </dsp:txXfrm>
    </dsp:sp>
    <dsp:sp modelId="{091DCC4D-33E1-494D-B0A4-2D534952B0F2}">
      <dsp:nvSpPr>
        <dsp:cNvPr id="0" name=""/>
        <dsp:cNvSpPr/>
      </dsp:nvSpPr>
      <dsp:spPr>
        <a:xfrm>
          <a:off x="2892255" y="292709"/>
          <a:ext cx="2335147" cy="1609903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6000" b="-16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E7C5FB-46FD-4C01-ACDF-135080CAC9F2}">
      <dsp:nvSpPr>
        <dsp:cNvPr id="0" name=""/>
        <dsp:cNvSpPr/>
      </dsp:nvSpPr>
      <dsp:spPr>
        <a:xfrm rot="10800000">
          <a:off x="2900965" y="2195322"/>
          <a:ext cx="2335147" cy="2683171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solidFill>
                <a:schemeClr val="tx1"/>
              </a:solidFill>
            </a:rPr>
            <a:t>Provide accurate info for annual recertification</a:t>
          </a:r>
        </a:p>
      </dsp:txBody>
      <dsp:txXfrm rot="10800000">
        <a:off x="2972779" y="2195322"/>
        <a:ext cx="2191519" cy="2611357"/>
      </dsp:txXfrm>
    </dsp:sp>
    <dsp:sp modelId="{4752F7DE-8A48-4F57-A97D-55F273714234}">
      <dsp:nvSpPr>
        <dsp:cNvPr id="0" name=""/>
        <dsp:cNvSpPr/>
      </dsp:nvSpPr>
      <dsp:spPr>
        <a:xfrm>
          <a:off x="5460917" y="292709"/>
          <a:ext cx="2335147" cy="1609903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61000" b="-61000"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9060AF-34F8-4B33-8009-5BC906262EB2}">
      <dsp:nvSpPr>
        <dsp:cNvPr id="0" name=""/>
        <dsp:cNvSpPr/>
      </dsp:nvSpPr>
      <dsp:spPr>
        <a:xfrm rot="10800000">
          <a:off x="5460917" y="2195322"/>
          <a:ext cx="2335147" cy="2683171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tx1"/>
              </a:solidFill>
            </a:rPr>
            <a:t>Report changes in income or family composition</a:t>
          </a:r>
        </a:p>
      </dsp:txBody>
      <dsp:txXfrm rot="10800000">
        <a:off x="5532731" y="2195322"/>
        <a:ext cx="2191519" cy="2611357"/>
      </dsp:txXfrm>
    </dsp:sp>
    <dsp:sp modelId="{8DFD959B-35DC-46F2-877C-34954F89C999}">
      <dsp:nvSpPr>
        <dsp:cNvPr id="0" name=""/>
        <dsp:cNvSpPr/>
      </dsp:nvSpPr>
      <dsp:spPr>
        <a:xfrm>
          <a:off x="8029579" y="292709"/>
          <a:ext cx="2335147" cy="1609903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F032AE0-826F-4813-9E5B-5B577A49156B}">
      <dsp:nvSpPr>
        <dsp:cNvPr id="0" name=""/>
        <dsp:cNvSpPr/>
      </dsp:nvSpPr>
      <dsp:spPr>
        <a:xfrm rot="10800000">
          <a:off x="8029579" y="2195322"/>
          <a:ext cx="2335147" cy="2683171"/>
        </a:xfrm>
        <a:prstGeom prst="round2SameRect">
          <a:avLst>
            <a:gd name="adj1" fmla="val 1050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t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0" kern="1200" dirty="0">
              <a:solidFill>
                <a:schemeClr val="tx1"/>
              </a:solidFill>
            </a:rPr>
            <a:t>Allow HUD required inspection</a:t>
          </a:r>
        </a:p>
      </dsp:txBody>
      <dsp:txXfrm rot="10800000">
        <a:off x="8101393" y="2195322"/>
        <a:ext cx="2191519" cy="26113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target3">
  <dgm:title val=""/>
  <dgm:desc val=""/>
  <dgm:catLst>
    <dgm:cat type="relationship" pri="11000"/>
    <dgm:cat type="list" pri="22000"/>
    <dgm:cat type="convert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2"/>
        <dgm:pt modelId="21"/>
        <dgm:pt modelId="22"/>
        <dgm:pt modelId="3"/>
        <dgm:pt modelId="31"/>
        <dgm:pt modelId="32"/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clrData>
  <dgm:layoutNode name="Name0">
    <dgm:varLst>
      <dgm:chMax val="7"/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1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l" for="ch" forName="circle1"/>
              <dgm:constr type="ctrY" for="ch" forName="circle1" refType="h" fact="0.5"/>
              <dgm:constr type="l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l" for="ch" forName="rect1" refType="r" refFor="ch" refForName="space"/>
              <dgm:constr type="r" for="ch" forName="rect1" refType="w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l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l" for="ch" forName="rect2" refType="r" refFor="ch" refForName="space"/>
              <dgm:constr type="r" for="ch" forName="rect2" refType="w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l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l" for="ch" forName="rect3" refType="r" refFor="ch" refForName="space"/>
              <dgm:constr type="r" for="ch" forName="rect3" refType="w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l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l" for="ch" forName="rect4" refType="r" refFor="ch" refForName="space"/>
              <dgm:constr type="r" for="ch" forName="rect4" refType="w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l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l" for="ch" forName="rect5" refType="r" refFor="ch" refForName="space"/>
              <dgm:constr type="r" for="ch" forName="rect5" refType="w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l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l" for="ch" forName="rect6" refType="r" refFor="ch" refForName="space"/>
              <dgm:constr type="r" for="ch" forName="rect6" refType="w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l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l" for="ch" forName="rect7" refType="r" refFor="ch" refForName="space"/>
              <dgm:constr type="r" for="ch" forName="rect7" refType="w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l" for="ch" forName="rect7ParTx" refType="r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l" for="ch" forName="rect7ChTx" refType="r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l" for="ch" forName="rect7ParTxNoCh" refType="r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l" for="ch" forName="rect1ParTx" refType="r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l" for="ch" forName="rect1ChTx" refType="r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l" for="ch" forName="rect1ParTxNoCh" refType="r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l" for="ch" forName="rect2ParTx" refType="r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l" for="ch" forName="rect2ChTx" refType="r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l" for="ch" forName="rect2ParTxNoCh" refType="r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l" for="ch" forName="rect3ParTx" refType="r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l" for="ch" forName="rect3ChTx" refType="r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l" for="ch" forName="rect3ParTxNoCh" refType="r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l" for="ch" forName="rect4ParTx" refType="r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l" for="ch" forName="rect4ChTx" refType="r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l" for="ch" forName="rect4ParTxNoCh" refType="r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l" for="ch" forName="rect5ParTx" refType="r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l" for="ch" forName="rect5ChTx" refType="r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l" for="ch" forName="rect5ParTxNoCh" refType="r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l" for="ch" forName="rect6ParTx" refType="r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l" for="ch" forName="rect6ChTx" refType="r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l" for="ch" forName="rect6ParTxNoCh" refType="r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11">
            <dgm:constrLst/>
          </dgm:else>
        </dgm:choose>
      </dgm:if>
      <dgm:else name="Name12">
        <dgm:choose name="Name13">
          <dgm:if name="Name14" axis="ch" ptType="node" func="cnt" op="equ" val="1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b" refFor="ch" refForName="rect1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b" refFor="ch" refForName="rect1"/>
              <dgm:constr type="primFontSz" for="ch" op="equ" val="65"/>
              <dgm:constr type="secFontSz" for="ch" op="equ" val="65"/>
            </dgm:constrLst>
          </dgm:if>
          <dgm:if name="Name15" axis="ch" ptType="node" func="cnt" op="equ" val="2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5"/>
              <dgm:constr type="hOff" for="ch" forName="circle2" refType="h" refFor="ch" refForName="vertSpace2" fact="-0.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b" refFor="ch" refForName="rect2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b" refFor="ch" refForName="rect2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primFontSz" for="ch" op="equ" val="65"/>
              <dgm:constr type="secFontSz" for="ch" op="equ" val="65"/>
            </dgm:constrLst>
          </dgm:if>
          <dgm:if name="Name16" axis="ch" ptType="node" func="cnt" op="equ" val="3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66667"/>
              <dgm:constr type="hOff" for="ch" forName="circle2" refType="h" refFor="ch" refForName="vertSpace2" fact="-0.33333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33333"/>
              <dgm:constr type="hOff" for="ch" forName="circle3" refType="h" refFor="ch" refForName="vertSpace2" fact="-0.66667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b" refFor="ch" refForName="rect3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b" refFor="ch" refForName="rect3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primFontSz" for="ch" op="equ" val="65"/>
              <dgm:constr type="secFontSz" for="ch" op="equ" val="65"/>
            </dgm:constrLst>
          </dgm:if>
          <dgm:if name="Name17" axis="ch" ptType="node" func="cnt" op="equ" val="4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75"/>
              <dgm:constr type="hOff" for="ch" forName="circle2" refType="h" refFor="ch" refForName="vertSpace2" fact="-0.25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5"/>
              <dgm:constr type="hOff" for="ch" forName="circle3" refType="h" refFor="ch" refForName="vertSpace2" fact="-0.5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25"/>
              <dgm:constr type="hOff" for="ch" forName="circle4" refType="h" refFor="ch" refForName="vertSpace2" fact="-0.7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b" refFor="ch" refForName="rect4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b" refFor="ch" refForName="rect4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primFontSz" for="ch" op="equ" val="65"/>
              <dgm:constr type="secFontSz" for="ch" op="equ" val="65"/>
            </dgm:constrLst>
          </dgm:if>
          <dgm:if name="Name18" axis="ch" ptType="node" func="cnt" op="equ" val="5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"/>
              <dgm:constr type="hOff" for="ch" forName="circle2" refType="h" refFor="ch" refForName="vertSpace2" fact="-0.2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"/>
              <dgm:constr type="hOff" for="ch" forName="circle3" refType="h" refFor="ch" refForName="vertSpace2" fact="-0.4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4"/>
              <dgm:constr type="hOff" for="ch" forName="circle4" refType="h" refFor="ch" refForName="vertSpace2" fact="-0.6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2"/>
              <dgm:constr type="hOff" for="ch" forName="circle5" refType="h" refFor="ch" refForName="vertSpace2" fact="-0.8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b" refFor="ch" refForName="rect5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b" refFor="ch" refForName="rect5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primFontSz" for="ch" op="equ" val="65"/>
              <dgm:constr type="secFontSz" for="ch" op="equ" val="65"/>
            </dgm:constrLst>
          </dgm:if>
          <dgm:if name="Name19" axis="ch" ptType="node" func="cnt" op="equ" val="6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3333"/>
              <dgm:constr type="hOff" for="ch" forName="circle2" refType="h" refFor="ch" refForName="vertSpace2" fact="-0.16667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66667"/>
              <dgm:constr type="hOff" for="ch" forName="circle3" refType="h" refFor="ch" refForName="vertSpace2" fact="-0.33333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"/>
              <dgm:constr type="hOff" for="ch" forName="circle4" refType="h" refFor="ch" refForName="vertSpace2" fact="-0.5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33333"/>
              <dgm:constr type="hOff" for="ch" forName="circle5" refType="h" refFor="ch" refForName="vertSpace2" fact="-0.66667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16667"/>
              <dgm:constr type="hOff" for="ch" forName="circle6" refType="h" refFor="ch" refForName="vertSpace2" fact="-0.83333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b" refFor="ch" refForName="rect6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b" refFor="ch" refForName="rect6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primFontSz" for="ch" op="equ" val="65"/>
              <dgm:constr type="secFontSz" for="ch" op="equ" val="65"/>
            </dgm:constrLst>
          </dgm:if>
          <dgm:if name="Name20" axis="ch" ptType="node" func="cnt" op="gte" val="7">
            <dgm:constrLst>
              <dgm:constr type="userA" refType="w" fact="0.3"/>
              <dgm:constr type="w" for="ch" forName="circle1" refType="userA" fact="2"/>
              <dgm:constr type="h" for="ch" forName="circle1" refType="w" refFor="ch" refForName="circle1" op="equ"/>
              <dgm:constr type="r" for="ch" forName="circle1" refType="w"/>
              <dgm:constr type="ctrY" for="ch" forName="circle1" refType="h" fact="0.5"/>
              <dgm:constr type="r" for="ch" forName="space" refType="ctrX" refFor="ch" refForName="circle1"/>
              <dgm:constr type="w" for="ch" forName="space"/>
              <dgm:constr type="h" for="ch" forName="space" refType="h" refFor="ch" refForName="circle1"/>
              <dgm:constr type="b" for="ch" forName="space" refType="b" refFor="ch" refForName="circle1"/>
              <dgm:constr type="r" for="ch" forName="rect1" refType="l" refFor="ch" refForName="space"/>
              <dgm:constr type="l" for="ch" forName="rect1"/>
              <dgm:constr type="h" for="ch" forName="rect1" refType="h" refFor="ch" refForName="circle1"/>
              <dgm:constr type="b" for="ch" forName="rect1" refType="b" refFor="ch" refForName="circle1"/>
              <dgm:constr type="l" for="ch" forName="vertSpace2"/>
              <dgm:constr type="w" for="ch" forName="vertSpace2" refType="w"/>
              <dgm:constr type="h" for="ch" forName="vertSpace2" refType="h" refFor="ch" refForName="circle1" fact="0.05"/>
              <dgm:constr type="b" for="ch" forName="vertSpace2" refType="b" refFor="ch" refForName="circle1"/>
              <dgm:constr type="ctrX" for="ch" forName="circle2" refType="r" refFor="ch" refForName="space"/>
              <dgm:constr type="h" for="ch" forName="circle2" refType="h" refFor="ch" refForName="circle1" fact="0.85714"/>
              <dgm:constr type="hOff" for="ch" forName="circle2" refType="h" refFor="ch" refForName="vertSpace2" fact="-0.14286"/>
              <dgm:constr type="w" for="ch" forName="circle2" refType="h" refFor="ch" refForName="circle2" op="equ"/>
              <dgm:constr type="wOff" for="ch" forName="circle2" refType="hOff" refFor="ch" refForName="circle2" op="equ"/>
              <dgm:constr type="b" for="ch" forName="circle2" refType="t" refFor="ch" refForName="vertSpace2"/>
              <dgm:constr type="r" for="ch" forName="rect2" refType="l" refFor="ch" refForName="space"/>
              <dgm:constr type="l" for="ch" forName="rect2"/>
              <dgm:constr type="h" for="ch" forName="rect2" refType="h" refFor="ch" refForName="circle2"/>
              <dgm:constr type="hOff" for="ch" forName="rect2" refType="hOff" refFor="ch" refForName="circle2"/>
              <dgm:constr type="b" for="ch" forName="rect2" refType="b" refFor="ch" refForName="circle2"/>
              <dgm:constr type="l" for="ch" forName="vertSpace3"/>
              <dgm:constr type="w" for="ch" forName="vertSpace3" refType="w"/>
              <dgm:constr type="h" for="ch" forName="vertSpace3" refType="h" refFor="ch" refForName="vertSpace2"/>
              <dgm:constr type="b" for="ch" forName="vertSpace3" refType="t" refFor="ch" refForName="vertSpace2"/>
              <dgm:constr type="ctrX" for="ch" forName="circle3" refType="r" refFor="ch" refForName="space"/>
              <dgm:constr type="h" for="ch" forName="circle3" refType="h" refFor="ch" refForName="circle1" fact="0.71429"/>
              <dgm:constr type="hOff" for="ch" forName="circle3" refType="h" refFor="ch" refForName="vertSpace2" fact="-0.28571"/>
              <dgm:constr type="w" for="ch" forName="circle3" refType="h" refFor="ch" refForName="circle3" op="equ"/>
              <dgm:constr type="wOff" for="ch" forName="circle3" refType="hOff" refFor="ch" refForName="circle3" op="equ"/>
              <dgm:constr type="b" for="ch" forName="circle3" refType="t" refFor="ch" refForName="vertSpace3"/>
              <dgm:constr type="r" for="ch" forName="rect3" refType="l" refFor="ch" refForName="space"/>
              <dgm:constr type="l" for="ch" forName="rect3"/>
              <dgm:constr type="h" for="ch" forName="rect3" refType="h" refFor="ch" refForName="circle3"/>
              <dgm:constr type="hOff" for="ch" forName="rect3" refType="hOff" refFor="ch" refForName="circle3"/>
              <dgm:constr type="b" for="ch" forName="rect3" refType="b" refFor="ch" refForName="circle3"/>
              <dgm:constr type="l" for="ch" forName="vertSpace4"/>
              <dgm:constr type="w" for="ch" forName="vertSpace4" refType="w"/>
              <dgm:constr type="h" for="ch" forName="vertSpace4" refType="h" refFor="ch" refForName="vertSpace3"/>
              <dgm:constr type="b" for="ch" forName="vertSpace4" refType="t" refFor="ch" refForName="vertSpace3"/>
              <dgm:constr type="ctrX" for="ch" forName="circle4" refType="r" refFor="ch" refForName="space"/>
              <dgm:constr type="h" for="ch" forName="circle4" refType="h" refFor="ch" refForName="circle1" fact="0.57143"/>
              <dgm:constr type="hOff" for="ch" forName="circle4" refType="h" refFor="ch" refForName="vertSpace2" fact="-0.42857"/>
              <dgm:constr type="w" for="ch" forName="circle4" refType="h" refFor="ch" refForName="circle4" op="equ"/>
              <dgm:constr type="wOff" for="ch" forName="circle4" refType="hOff" refFor="ch" refForName="circle4" op="equ"/>
              <dgm:constr type="b" for="ch" forName="circle4" refType="t" refFor="ch" refForName="vertSpace4"/>
              <dgm:constr type="r" for="ch" forName="rect4" refType="l" refFor="ch" refForName="space"/>
              <dgm:constr type="l" for="ch" forName="rect4"/>
              <dgm:constr type="h" for="ch" forName="rect4" refType="h" refFor="ch" refForName="circle4"/>
              <dgm:constr type="hOff" for="ch" forName="rect4" refType="hOff" refFor="ch" refForName="circle4"/>
              <dgm:constr type="b" for="ch" forName="rect4" refType="b" refFor="ch" refForName="circle4"/>
              <dgm:constr type="l" for="ch" forName="vertSpace5"/>
              <dgm:constr type="w" for="ch" forName="vertSpace5" refType="w"/>
              <dgm:constr type="h" for="ch" forName="vertSpace5" refType="h" refFor="ch" refForName="vertSpace4"/>
              <dgm:constr type="b" for="ch" forName="vertSpace5" refType="t" refFor="ch" refForName="vertSpace4"/>
              <dgm:constr type="ctrX" for="ch" forName="circle5" refType="r" refFor="ch" refForName="space"/>
              <dgm:constr type="h" for="ch" forName="circle5" refType="h" refFor="ch" refForName="circle1" fact="0.42857"/>
              <dgm:constr type="hOff" for="ch" forName="circle5" refType="h" refFor="ch" refForName="vertSpace2" fact="-0.57143"/>
              <dgm:constr type="w" for="ch" forName="circle5" refType="h" refFor="ch" refForName="circle5" op="equ"/>
              <dgm:constr type="wOff" for="ch" forName="circle5" refType="hOff" refFor="ch" refForName="circle5" op="equ"/>
              <dgm:constr type="b" for="ch" forName="circle5" refType="t" refFor="ch" refForName="vertSpace5"/>
              <dgm:constr type="r" for="ch" forName="rect5" refType="l" refFor="ch" refForName="space"/>
              <dgm:constr type="l" for="ch" forName="rect5"/>
              <dgm:constr type="h" for="ch" forName="rect5" refType="h" refFor="ch" refForName="circle5"/>
              <dgm:constr type="hOff" for="ch" forName="rect5" refType="hOff" refFor="ch" refForName="circle5"/>
              <dgm:constr type="b" for="ch" forName="rect5" refType="b" refFor="ch" refForName="circle5"/>
              <dgm:constr type="l" for="ch" forName="vertSpace6"/>
              <dgm:constr type="w" for="ch" forName="vertSpace6" refType="w"/>
              <dgm:constr type="h" for="ch" forName="vertSpace6" refType="h" refFor="ch" refForName="vertSpace5"/>
              <dgm:constr type="b" for="ch" forName="vertSpace6" refType="t" refFor="ch" refForName="vertSpace5"/>
              <dgm:constr type="ctrX" for="ch" forName="circle6" refType="r" refFor="ch" refForName="space"/>
              <dgm:constr type="h" for="ch" forName="circle6" refType="h" refFor="ch" refForName="circle1" fact="0.28571"/>
              <dgm:constr type="hOff" for="ch" forName="circle6" refType="h" refFor="ch" refForName="vertSpace2" fact="-0.71429"/>
              <dgm:constr type="w" for="ch" forName="circle6" refType="h" refFor="ch" refForName="circle6" op="equ"/>
              <dgm:constr type="wOff" for="ch" forName="circle6" refType="hOff" refFor="ch" refForName="circle6" op="equ"/>
              <dgm:constr type="b" for="ch" forName="circle6" refType="t" refFor="ch" refForName="vertSpace6"/>
              <dgm:constr type="r" for="ch" forName="rect6" refType="l" refFor="ch" refForName="space"/>
              <dgm:constr type="l" for="ch" forName="rect6"/>
              <dgm:constr type="h" for="ch" forName="rect6" refType="h" refFor="ch" refForName="circle6"/>
              <dgm:constr type="hOff" for="ch" forName="rect6" refType="hOff" refFor="ch" refForName="circle6"/>
              <dgm:constr type="b" for="ch" forName="rect6" refType="b" refFor="ch" refForName="circle6"/>
              <dgm:constr type="l" for="ch" forName="vertSpace7"/>
              <dgm:constr type="w" for="ch" forName="vertSpace7" refType="w"/>
              <dgm:constr type="h" for="ch" forName="vertSpace7" refType="h" refFor="ch" refForName="vertSpace6"/>
              <dgm:constr type="b" for="ch" forName="vertSpace7" refType="t" refFor="ch" refForName="vertSpace6"/>
              <dgm:constr type="ctrX" for="ch" forName="circle7" refType="r" refFor="ch" refForName="space"/>
              <dgm:constr type="h" for="ch" forName="circle7" refType="h" refFor="ch" refForName="circle1" fact="0.14286"/>
              <dgm:constr type="hOff" for="ch" forName="circle7" refType="h" refFor="ch" refForName="vertSpace2" fact="-0.85714"/>
              <dgm:constr type="w" for="ch" forName="circle7" refType="h" refFor="ch" refForName="circle7" op="equ"/>
              <dgm:constr type="wOff" for="ch" forName="circle7" refType="hOff" refFor="ch" refForName="circle7" op="equ"/>
              <dgm:constr type="b" for="ch" forName="circle7" refType="t" refFor="ch" refForName="vertSpace7"/>
              <dgm:constr type="r" for="ch" forName="rect7" refType="l" refFor="ch" refForName="space"/>
              <dgm:constr type="l" for="ch" forName="rect7"/>
              <dgm:constr type="h" for="ch" forName="rect7" refType="h" refFor="ch" refForName="circle7"/>
              <dgm:constr type="hOff" for="ch" forName="rect7" refType="hOff" refFor="ch" refForName="circle7"/>
              <dgm:constr type="b" for="ch" forName="rect7" refType="b" refFor="ch" refForName="circle7"/>
              <dgm:constr type="r" for="ch" forName="rect7ParTx" refType="l" refFor="ch" refForName="space"/>
              <dgm:constr type="w" for="ch" forName="rect7ParTx" refType="w" refFor="ch" refForName="rect7" fact="0.5"/>
              <dgm:constr type="t" for="ch" forName="rect7ParTx" refType="t" refFor="ch" refForName="rect7"/>
              <dgm:constr type="b" for="ch" forName="rect7ParTx" refType="b" refFor="ch" refForName="rect7"/>
              <dgm:constr type="r" for="ch" forName="rect7ChTx" refType="l" refFor="ch" refForName="rect7ParTx"/>
              <dgm:constr type="w" for="ch" forName="rect7ChTx" refType="w" refFor="ch" refForName="rect7ParTx"/>
              <dgm:constr type="t" for="ch" forName="rect7ChTx" refType="t" refFor="ch" refForName="rect7ParTx"/>
              <dgm:constr type="b" for="ch" forName="rect7ChTx" refType="b" refFor="ch" refForName="rect7ParTx"/>
              <dgm:constr type="r" for="ch" forName="rect7ParTxNoCh" refType="l" refFor="ch" refForName="space"/>
              <dgm:constr type="w" for="ch" forName="rect7ParTxNoCh" refType="w" refFor="ch" refForName="rect7"/>
              <dgm:constr type="t" for="ch" forName="rect7ParTxNoCh" refType="t" refFor="ch" refForName="rect7"/>
              <dgm:constr type="b" for="ch" forName="rect7ParTxNoCh" refType="b" refFor="ch" refForName="rect7"/>
              <dgm:constr type="r" for="ch" forName="rect1ParTx" refType="l" refFor="ch" refForName="space"/>
              <dgm:constr type="w" for="ch" forName="rect1ParTx" refType="w" refFor="ch" refForName="rect1" fact="0.5"/>
              <dgm:constr type="t" for="ch" forName="rect1ParTx" refType="t" refFor="ch" refForName="rect1"/>
              <dgm:constr type="b" for="ch" forName="rect1ParTx" refType="t" refFor="ch" refForName="rect2"/>
              <dgm:constr type="r" for="ch" forName="rect1ChTx" refType="l" refFor="ch" refForName="rect1ParTx"/>
              <dgm:constr type="w" for="ch" forName="rect1ChTx" refType="w" refFor="ch" refForName="rect1ParTx"/>
              <dgm:constr type="t" for="ch" forName="rect1ChTx" refType="t" refFor="ch" refForName="rect1ParTx"/>
              <dgm:constr type="b" for="ch" forName="rect1ChTx" refType="b" refFor="ch" refForName="rect1ParTx"/>
              <dgm:constr type="r" for="ch" forName="rect1ParTxNoCh" refType="l" refFor="ch" refForName="space"/>
              <dgm:constr type="w" for="ch" forName="rect1ParTxNoCh" refType="w" refFor="ch" refForName="rect1"/>
              <dgm:constr type="t" for="ch" forName="rect1ParTxNoCh" refType="t" refFor="ch" refForName="rect1"/>
              <dgm:constr type="b" for="ch" forName="rect1ParTxNoCh" refType="t" refFor="ch" refForName="rect2"/>
              <dgm:constr type="r" for="ch" forName="rect2ParTx" refType="l" refFor="ch" refForName="space"/>
              <dgm:constr type="w" for="ch" forName="rect2ParTx" refType="w" refFor="ch" refForName="rect2" fact="0.5"/>
              <dgm:constr type="t" for="ch" forName="rect2ParTx" refType="t" refFor="ch" refForName="rect2"/>
              <dgm:constr type="b" for="ch" forName="rect2ParTx" refType="t" refFor="ch" refForName="rect3"/>
              <dgm:constr type="r" for="ch" forName="rect2ChTx" refType="l" refFor="ch" refForName="rect2ParTx"/>
              <dgm:constr type="w" for="ch" forName="rect2ChTx" refType="w" refFor="ch" refForName="rect2ParTx"/>
              <dgm:constr type="t" for="ch" forName="rect2ChTx" refType="t" refFor="ch" refForName="rect2ParTx"/>
              <dgm:constr type="b" for="ch" forName="rect2ChTx" refType="b" refFor="ch" refForName="rect2ParTx"/>
              <dgm:constr type="r" for="ch" forName="rect2ParTxNoCh" refType="l" refFor="ch" refForName="space"/>
              <dgm:constr type="w" for="ch" forName="rect2ParTxNoCh" refType="w" refFor="ch" refForName="rect2"/>
              <dgm:constr type="t" for="ch" forName="rect2ParTxNoCh" refType="t" refFor="ch" refForName="rect2"/>
              <dgm:constr type="b" for="ch" forName="rect2ParTxNoCh" refType="t" refFor="ch" refForName="rect3"/>
              <dgm:constr type="r" for="ch" forName="rect3ParTx" refType="l" refFor="ch" refForName="space"/>
              <dgm:constr type="w" for="ch" forName="rect3ParTx" refType="w" refFor="ch" refForName="rect3" fact="0.5"/>
              <dgm:constr type="t" for="ch" forName="rect3ParTx" refType="t" refFor="ch" refForName="rect3"/>
              <dgm:constr type="b" for="ch" forName="rect3ParTx" refType="t" refFor="ch" refForName="rect4"/>
              <dgm:constr type="r" for="ch" forName="rect3ChTx" refType="l" refFor="ch" refForName="rect3ParTx"/>
              <dgm:constr type="w" for="ch" forName="rect3ChTx" refType="w" refFor="ch" refForName="rect3ParTx"/>
              <dgm:constr type="t" for="ch" forName="rect3ChTx" refType="t" refFor="ch" refForName="rect3ParTx"/>
              <dgm:constr type="b" for="ch" forName="rect3ChTx" refType="b" refFor="ch" refForName="rect3ParTx"/>
              <dgm:constr type="r" for="ch" forName="rect3ParTxNoCh" refType="l" refFor="ch" refForName="space"/>
              <dgm:constr type="w" for="ch" forName="rect3ParTxNoCh" refType="w" refFor="ch" refForName="rect3"/>
              <dgm:constr type="t" for="ch" forName="rect3ParTxNoCh" refType="t" refFor="ch" refForName="rect3"/>
              <dgm:constr type="b" for="ch" forName="rect3ParTxNoCh" refType="t" refFor="ch" refForName="rect4"/>
              <dgm:constr type="r" for="ch" forName="rect4ParTx" refType="l" refFor="ch" refForName="space"/>
              <dgm:constr type="w" for="ch" forName="rect4ParTx" refType="w" refFor="ch" refForName="rect4" fact="0.5"/>
              <dgm:constr type="t" for="ch" forName="rect4ParTx" refType="t" refFor="ch" refForName="rect4"/>
              <dgm:constr type="b" for="ch" forName="rect4ParTx" refType="t" refFor="ch" refForName="rect5"/>
              <dgm:constr type="r" for="ch" forName="rect4ChTx" refType="l" refFor="ch" refForName="rect4ParTx"/>
              <dgm:constr type="w" for="ch" forName="rect4ChTx" refType="w" refFor="ch" refForName="rect4ParTx"/>
              <dgm:constr type="t" for="ch" forName="rect4ChTx" refType="t" refFor="ch" refForName="rect4ParTx"/>
              <dgm:constr type="b" for="ch" forName="rect4ChTx" refType="b" refFor="ch" refForName="rect4ParTx"/>
              <dgm:constr type="r" for="ch" forName="rect4ParTxNoCh" refType="l" refFor="ch" refForName="space"/>
              <dgm:constr type="w" for="ch" forName="rect4ParTxNoCh" refType="w" refFor="ch" refForName="rect4"/>
              <dgm:constr type="t" for="ch" forName="rect4ParTxNoCh" refType="t" refFor="ch" refForName="rect4"/>
              <dgm:constr type="b" for="ch" forName="rect4ParTxNoCh" refType="t" refFor="ch" refForName="rect5"/>
              <dgm:constr type="r" for="ch" forName="rect5ParTx" refType="l" refFor="ch" refForName="space"/>
              <dgm:constr type="w" for="ch" forName="rect5ParTx" refType="w" refFor="ch" refForName="rect5" fact="0.5"/>
              <dgm:constr type="t" for="ch" forName="rect5ParTx" refType="t" refFor="ch" refForName="rect5"/>
              <dgm:constr type="b" for="ch" forName="rect5ParTx" refType="t" refFor="ch" refForName="rect6"/>
              <dgm:constr type="r" for="ch" forName="rect5ChTx" refType="l" refFor="ch" refForName="rect5ParTx"/>
              <dgm:constr type="w" for="ch" forName="rect5ChTx" refType="w" refFor="ch" refForName="rect5ParTx"/>
              <dgm:constr type="t" for="ch" forName="rect5ChTx" refType="t" refFor="ch" refForName="rect5ParTx"/>
              <dgm:constr type="b" for="ch" forName="rect5ChTx" refType="b" refFor="ch" refForName="rect5ParTx"/>
              <dgm:constr type="r" for="ch" forName="rect5ParTxNoCh" refType="l" refFor="ch" refForName="space"/>
              <dgm:constr type="w" for="ch" forName="rect5ParTxNoCh" refType="w" refFor="ch" refForName="rect5"/>
              <dgm:constr type="t" for="ch" forName="rect5ParTxNoCh" refType="t" refFor="ch" refForName="rect5"/>
              <dgm:constr type="b" for="ch" forName="rect5ParTxNoCh" refType="t" refFor="ch" refForName="rect6"/>
              <dgm:constr type="r" for="ch" forName="rect6ParTx" refType="l" refFor="ch" refForName="space"/>
              <dgm:constr type="w" for="ch" forName="rect6ParTx" refType="w" refFor="ch" refForName="rect6" fact="0.5"/>
              <dgm:constr type="t" for="ch" forName="rect6ParTx" refType="t" refFor="ch" refForName="rect6"/>
              <dgm:constr type="b" for="ch" forName="rect6ParTx" refType="t" refFor="ch" refForName="rect7"/>
              <dgm:constr type="r" for="ch" forName="rect6ChTx" refType="l" refFor="ch" refForName="rect6ParTx"/>
              <dgm:constr type="w" for="ch" forName="rect6ChTx" refType="w" refFor="ch" refForName="rect6ParTx"/>
              <dgm:constr type="t" for="ch" forName="rect6ChTx" refType="t" refFor="ch" refForName="rect6ParTx"/>
              <dgm:constr type="b" for="ch" forName="rect6ChTx" refType="b" refFor="ch" refForName="rect6ParTx"/>
              <dgm:constr type="r" for="ch" forName="rect6ParTxNoCh" refType="l" refFor="ch" refForName="space"/>
              <dgm:constr type="w" for="ch" forName="rect6ParTxNoCh" refType="w" refFor="ch" refForName="rect6"/>
              <dgm:constr type="t" for="ch" forName="rect6ParTxNoCh" refType="t" refFor="ch" refForName="rect6"/>
              <dgm:constr type="b" for="ch" forName="rect6ParTxNoCh" refType="t" refFor="ch" refForName="rect7"/>
              <dgm:constr type="primFontSz" for="ch" op="equ" val="65"/>
              <dgm:constr type="secFontSz" for="ch" op="equ" val="65"/>
            </dgm:constrLst>
          </dgm:if>
          <dgm:else name="Name21">
            <dgm:constrLst/>
          </dgm:else>
        </dgm:choose>
      </dgm:else>
    </dgm:choose>
    <dgm:ruleLst/>
    <dgm:forEach name="Name22" axis="ch" ptType="node" cnt="1">
      <dgm:layoutNode name="circle1" styleLbl="node1">
        <dgm:alg type="sp"/>
        <dgm:choose name="Name23">
          <dgm:if name="Name2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rect1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26" axis="ch" ptType="node" st="2" cnt="1">
      <dgm:layoutNode name="vertSpace2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2" styleLbl="node1">
        <dgm:alg type="sp"/>
        <dgm:choose name="Name27">
          <dgm:if name="Name2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2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2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0" axis="ch" ptType="node" st="3" cnt="1">
      <dgm:layoutNode name="vertSpace3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3" styleLbl="node1">
        <dgm:alg type="sp"/>
        <dgm:choose name="Name31">
          <dgm:if name="Name32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3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3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4" axis="ch" ptType="node" st="4" cnt="1">
      <dgm:layoutNode name="vertSpace4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4" styleLbl="node1">
        <dgm:alg type="sp"/>
        <dgm:choose name="Name35">
          <dgm:if name="Name36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37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4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38" axis="ch" ptType="node" st="5" cnt="1">
      <dgm:layoutNode name="vertSpace5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5" styleLbl="node1">
        <dgm:alg type="sp"/>
        <dgm:choose name="Name39">
          <dgm:if name="Name40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1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5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2" axis="ch" ptType="node" st="6" cnt="1">
      <dgm:layoutNode name="vertSpace6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6" styleLbl="node1">
        <dgm:alg type="sp"/>
        <dgm:choose name="Name43">
          <dgm:if name="Name44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5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6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46" axis="ch" ptType="node" st="7" cnt="1">
      <dgm:layoutNode name="vertSpace7">
        <dgm:alg type="sp"/>
        <dgm:shape xmlns:r="http://schemas.openxmlformats.org/officeDocument/2006/relationships" type="rect" r:blip="" hideGeom="1">
          <dgm:adjLst/>
        </dgm:shape>
        <dgm:presOf/>
        <dgm:constrLst/>
        <dgm:ruleLst/>
      </dgm:layoutNode>
      <dgm:layoutNode name="circle7" styleLbl="node1">
        <dgm:alg type="sp"/>
        <dgm:choose name="Name47">
          <dgm:if name="Name48" func="var" arg="dir" op="equ" val="norm">
            <dgm:shape xmlns:r="http://schemas.openxmlformats.org/officeDocument/2006/relationships" type="pie" r:blip="">
              <dgm:adjLst>
                <dgm:adj idx="1" val="90"/>
                <dgm:adj idx="2" val="270"/>
              </dgm:adjLst>
            </dgm:shape>
          </dgm:if>
          <dgm:else name="Name49">
            <dgm:shape xmlns:r="http://schemas.openxmlformats.org/officeDocument/2006/relationships" type="pie" r:blip="">
              <dgm:adjLst>
                <dgm:adj idx="1" val="270"/>
                <dgm:adj idx="2" val="90"/>
              </dgm:adjLst>
            </dgm:shape>
          </dgm:else>
        </dgm:choose>
        <dgm:presOf/>
        <dgm:constrLst/>
        <dgm:ruleLst/>
      </dgm:layoutNode>
      <dgm:layoutNode name="rect7" styleLbl="alignAcc1">
        <dgm:alg type="sp"/>
        <dgm:shape xmlns:r="http://schemas.openxmlformats.org/officeDocument/2006/relationships" type="rect" r:blip="">
          <dgm:adjLst/>
        </dgm:shape>
        <dgm:presOf axis="self"/>
        <dgm:constrLst/>
        <dgm:ruleLst/>
      </dgm:layoutNode>
    </dgm:forEach>
    <dgm:forEach name="Name50" axis="ch" ptType="node" cnt="1">
      <dgm:choose name="Name51">
        <dgm:if name="Name52" axis="root des" ptType="all node" func="maxDepth" op="gte" val="2">
          <dgm:layoutNode name="rect1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1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3">
          <dgm:layoutNode name="rect1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4" axis="ch" ptType="node" st="2" cnt="1">
      <dgm:choose name="Name55">
        <dgm:if name="Name56" axis="root des" ptType="all node" func="maxDepth" op="gte" val="2">
          <dgm:layoutNode name="rect2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2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57">
          <dgm:layoutNode name="rect2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58" axis="ch" ptType="node" st="3" cnt="1">
      <dgm:choose name="Name59">
        <dgm:if name="Name60" axis="root des" ptType="all node" func="maxDepth" op="gte" val="2">
          <dgm:layoutNode name="rect3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3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1">
          <dgm:layoutNode name="rect3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2" axis="ch" ptType="node" st="4" cnt="1">
      <dgm:choose name="Name63">
        <dgm:if name="Name64" axis="root des" ptType="all node" func="maxDepth" op="gte" val="2">
          <dgm:layoutNode name="rect4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4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5">
          <dgm:layoutNode name="rect4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66" axis="ch" ptType="node" st="5" cnt="1">
      <dgm:choose name="Name67">
        <dgm:if name="Name68" axis="root des" ptType="all node" func="maxDepth" op="gte" val="2">
          <dgm:layoutNode name="rect5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5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69">
          <dgm:layoutNode name="rect5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0" axis="ch" ptType="node" st="6" cnt="1">
      <dgm:choose name="Name71">
        <dgm:if name="Name72" axis="root des" ptType="all node" func="maxDepth" op="gte" val="2">
          <dgm:layoutNode name="rect6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6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3">
          <dgm:layoutNode name="rect6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  <dgm:forEach name="Name74" axis="ch" ptType="node" st="7" cnt="1">
      <dgm:choose name="Name75">
        <dgm:if name="Name76" axis="root des" ptType="all node" func="maxDepth" op="gte" val="2">
          <dgm:layoutNode name="rect7ParTx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  <dgm:layoutNode name="rect7ChTx" styleLbl="alignAcc1">
            <dgm:varLst>
              <dgm:bulletEnabled val="1"/>
            </dgm:varLst>
            <dgm:alg type="tx">
              <dgm:param type="stBulletLvl" val="1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presOf axis="des" ptType="node"/>
            <dgm:constrLst>
              <dgm:constr type="lMarg" refType="secFontSz" fact="0.3"/>
              <dgm:constr type="rMarg" refType="secFontSz" fact="0.3"/>
              <dgm:constr type="tMarg" refType="secFontSz" fact="0.3"/>
              <dgm:constr type="bMarg" refType="secFontSz" fact="0.3"/>
            </dgm:constrLst>
            <dgm:ruleLst>
              <dgm:rule type="secFontSz" val="5" fact="NaN" max="NaN"/>
            </dgm:ruleLst>
          </dgm:layoutNode>
        </dgm:if>
        <dgm:else name="Name77">
          <dgm:layoutNode name="rect7ParTxNoCh" styleLbl="alignAcc1">
            <dgm:varLst>
              <dgm:chMax val="1"/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/>
          <a:lstStyle>
            <a:lvl1pPr algn="r">
              <a:defRPr sz="1200"/>
            </a:lvl1pPr>
          </a:lstStyle>
          <a:p>
            <a:fld id="{3852E813-9CA5-473C-B21B-BDF5D2B7FC0D}" type="datetimeFigureOut">
              <a:rPr lang="en-US" smtClean="0"/>
              <a:pPr/>
              <a:t>4/2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51" tIns="48325" rIns="96651" bIns="48325" rtlCol="0" anchor="b"/>
          <a:lstStyle>
            <a:lvl1pPr algn="r">
              <a:defRPr sz="1200"/>
            </a:lvl1pPr>
          </a:lstStyle>
          <a:p>
            <a:fld id="{B6E0EB5F-D91C-42A9-A44B-EF92A724CB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5542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51" tIns="48325" rIns="96651" bIns="4832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51" tIns="48325" rIns="96651" bIns="48325" rtlCol="0"/>
          <a:lstStyle>
            <a:lvl1pPr algn="r">
              <a:defRPr sz="1200"/>
            </a:lvl1pPr>
          </a:lstStyle>
          <a:p>
            <a:fld id="{75DF8EE9-9CF9-48F4-8AF7-7D7382EDE4AE}" type="datetimeFigureOut">
              <a:rPr lang="en-US" smtClean="0"/>
              <a:pPr/>
              <a:t>4/2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1" tIns="48325" rIns="96651" bIns="4832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620578"/>
            <a:ext cx="5852160" cy="3780472"/>
          </a:xfrm>
          <a:prstGeom prst="rect">
            <a:avLst/>
          </a:prstGeom>
        </p:spPr>
        <p:txBody>
          <a:bodyPr vert="horz" lIns="96651" tIns="48325" rIns="96651" bIns="4832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51" tIns="48325" rIns="96651" bIns="4832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51" tIns="48325" rIns="96651" bIns="48325" rtlCol="0" anchor="b"/>
          <a:lstStyle>
            <a:lvl1pPr algn="r">
              <a:defRPr sz="1200"/>
            </a:lvl1pPr>
          </a:lstStyle>
          <a:p>
            <a:fld id="{1CB0AC8D-9C33-4649-8ED2-3455ED8F1DC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3386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P</a:t>
            </a:r>
          </a:p>
        </p:txBody>
      </p:sp>
    </p:spTree>
    <p:extLst>
      <p:ext uri="{BB962C8B-B14F-4D97-AF65-F5344CB8AC3E}">
        <p14:creationId xmlns:p14="http://schemas.microsoft.com/office/powerpoint/2010/main" val="6883259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75" y="1200150"/>
            <a:ext cx="5759450" cy="3240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B0AC8D-9C33-4649-8ED2-3455ED8F1DCE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6816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75" y="1200150"/>
            <a:ext cx="5759450" cy="3240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B0AC8D-9C33-4649-8ED2-3455ED8F1DCE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14179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95300" y="736600"/>
            <a:ext cx="6545263" cy="36814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rtl="0"/>
            <a:endParaRPr lang="en-US" dirty="0">
              <a:solidFill>
                <a:schemeClr val="tx1"/>
              </a:solidFill>
            </a:endParaRPr>
          </a:p>
          <a:p>
            <a:pPr lvl="0" rtl="0"/>
            <a:r>
              <a:rPr lang="en-US" dirty="0">
                <a:solidFill>
                  <a:schemeClr val="tx1"/>
                </a:solidFill>
              </a:rPr>
              <a:t>LP</a:t>
            </a:r>
          </a:p>
          <a:p>
            <a:pPr lvl="0" rtl="0"/>
            <a:r>
              <a:rPr lang="en-US" dirty="0">
                <a:solidFill>
                  <a:schemeClr val="tx1"/>
                </a:solidFill>
              </a:rPr>
              <a:t>Tenants must comply with a standard lease agreement and are provided with the services and supports that are necessary to help them follow the lease and maintain their housing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B0AC8D-9C33-4649-8ED2-3455ED8F1DCE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1078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975007-313B-477D-9011-37852327D26D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73594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93713" y="736600"/>
            <a:ext cx="6546850" cy="3683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>
              <a:buClrTx/>
              <a:buFont typeface="Arial" panose="020B0604020202020204" pitchFamily="34" charset="0"/>
              <a:buChar char="•"/>
            </a:pPr>
            <a:r>
              <a:rPr lang="en-US" sz="2500" dirty="0"/>
              <a:t>Target people in a life stage transition – </a:t>
            </a:r>
          </a:p>
          <a:p>
            <a:pPr lvl="2">
              <a:buClrTx/>
            </a:pPr>
            <a:r>
              <a:rPr lang="en-US" sz="2500" dirty="0"/>
              <a:t>Persons fleeing DV</a:t>
            </a:r>
          </a:p>
          <a:p>
            <a:pPr lvl="2">
              <a:buClrTx/>
            </a:pPr>
            <a:r>
              <a:rPr lang="en-US" sz="2500" dirty="0"/>
              <a:t>Early recovery from substance use</a:t>
            </a:r>
          </a:p>
          <a:p>
            <a:pPr lvl="2">
              <a:buClrTx/>
            </a:pPr>
            <a:r>
              <a:rPr lang="en-US" sz="2500" dirty="0"/>
              <a:t>Young Adults</a:t>
            </a:r>
          </a:p>
          <a:p>
            <a:pPr lvl="2">
              <a:buClrTx/>
            </a:pPr>
            <a:r>
              <a:rPr lang="en-US" sz="2500" dirty="0"/>
              <a:t>Mother with children under age 5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58521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77875" y="1200150"/>
            <a:ext cx="5759450" cy="324008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altLang="en-US" sz="1700"/>
              <a:t>Motivation is not a fixed trait; like eye or hair color</a:t>
            </a:r>
          </a:p>
          <a:p>
            <a:endParaRPr lang="en-US" altLang="en-US" sz="1700"/>
          </a:p>
          <a:p>
            <a:r>
              <a:rPr lang="en-US" altLang="en-US" sz="1700"/>
              <a:t>What do you think can influence motivation</a:t>
            </a:r>
          </a:p>
          <a:p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13266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75" y="1200150"/>
            <a:ext cx="5759450" cy="3240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B0AC8D-9C33-4649-8ED2-3455ED8F1DCE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4967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79463" y="1200150"/>
            <a:ext cx="5757862" cy="324008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/>
          <a:lstStyle/>
          <a:p>
            <a:pPr algn="ctr" eaLnBrk="1" hangingPunct="1">
              <a:spcBef>
                <a:spcPct val="0"/>
              </a:spcBef>
            </a:pPr>
            <a:r>
              <a:rPr lang="en-US" sz="1900" b="1" u="sng" dirty="0">
                <a:latin typeface="Georgia" pitchFamily="18" charset="0"/>
                <a:cs typeface="Times New Roman" pitchFamily="18" charset="0"/>
              </a:rPr>
              <a:t>HARM REDUCTION</a:t>
            </a:r>
            <a:endParaRPr lang="en-US" sz="1900" dirty="0">
              <a:latin typeface="Georgia" pitchFamily="18" charset="0"/>
              <a:cs typeface="Times New Roman" pitchFamily="18" charset="0"/>
            </a:endParaRPr>
          </a:p>
          <a:p>
            <a:pPr algn="ctr" eaLnBrk="1" hangingPunct="1">
              <a:spcBef>
                <a:spcPct val="0"/>
              </a:spcBef>
            </a:pPr>
            <a:r>
              <a:rPr lang="en-US" sz="1900" dirty="0">
                <a:latin typeface="Georgia" pitchFamily="18" charset="0"/>
                <a:cs typeface="Times New Roman" pitchFamily="18" charset="0"/>
              </a:rPr>
              <a:t>Intervention developed in 80’s response to spreading AIDS epidemic.  New way of dealing from public health perspective removing morality from the solution.</a:t>
            </a:r>
          </a:p>
          <a:p>
            <a:pPr eaLnBrk="1" hangingPunct="1">
              <a:spcBef>
                <a:spcPct val="0"/>
              </a:spcBef>
            </a:pPr>
            <a:endParaRPr lang="en-US" sz="1900" dirty="0">
              <a:latin typeface="Georgia" pitchFamily="18" charset="0"/>
            </a:endParaRPr>
          </a:p>
        </p:txBody>
      </p:sp>
      <p:sp>
        <p:nvSpPr>
          <p:cNvPr id="48132" name="Slide Number Placeholder 3"/>
          <p:cNvSpPr txBox="1">
            <a:spLocks noGrp="1"/>
          </p:cNvSpPr>
          <p:nvPr/>
        </p:nvSpPr>
        <p:spPr bwMode="auto">
          <a:xfrm>
            <a:off x="4143589" y="9119474"/>
            <a:ext cx="3169920" cy="4800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57" tIns="48328" rIns="96657" bIns="48328" anchor="b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1D01527E-5FF0-4D01-9234-32EB49CB9E57}" type="slidenum">
              <a:rPr lang="en-US" sz="1300">
                <a:solidFill>
                  <a:prstClr val="black"/>
                </a:solidFill>
                <a:latin typeface="Calibri" pitchFamily="34" charset="0"/>
              </a:rPr>
              <a:pPr algn="r" eaLnBrk="1" hangingPunct="1"/>
              <a:t>16</a:t>
            </a:fld>
            <a:endParaRPr lang="en-US" sz="1300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11963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75" y="1200150"/>
            <a:ext cx="5759450" cy="3240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B0AC8D-9C33-4649-8ED2-3455ED8F1DCE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77612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77875" y="1200150"/>
            <a:ext cx="5759450" cy="32400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B0AC8D-9C33-4649-8ED2-3455ED8F1DCE}" type="slidenum">
              <a:rPr lang="en-US" smtClean="0">
                <a:solidFill>
                  <a:prstClr val="black"/>
                </a:solidFill>
              </a:rPr>
              <a:pPr/>
              <a:t>2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6951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800"/>
            </a:lvl4pPr>
            <a:lvl5pPr marL="1828800" indent="0" algn="ctr">
              <a:buNone/>
              <a:defRPr sz="1800"/>
            </a:lvl5pPr>
            <a:lvl6pPr marL="2286000" indent="0" algn="ctr">
              <a:buNone/>
              <a:defRPr sz="1800"/>
            </a:lvl6pPr>
            <a:lvl7pPr marL="2743200" indent="0" algn="ctr">
              <a:buNone/>
              <a:defRPr sz="1800"/>
            </a:lvl7pPr>
            <a:lvl8pPr marL="3200400" indent="0" algn="ctr">
              <a:buNone/>
              <a:defRPr sz="1800"/>
            </a:lvl8pPr>
            <a:lvl9pPr marL="3657600" indent="0" algn="ctr">
              <a:buNone/>
              <a:defRPr sz="18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l">
              <a:defRPr/>
            </a:lvl1pPr>
          </a:lstStyle>
          <a:p>
            <a:fld id="{6AD6EE87-EBD5-4F12-A48A-63ACA297AC8F}" type="datetimeFigureOut">
              <a:rPr lang="en-US" dirty="0"/>
              <a:t>4/21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29993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73815-2707-4475-8F1A-B873CB631BB4}" type="datetimeFigureOut">
              <a:rPr lang="en-US" dirty="0"/>
              <a:t>4/21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30487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762000"/>
            <a:ext cx="2628900" cy="5410200"/>
          </a:xfrm>
        </p:spPr>
        <p:txBody>
          <a:bodyPr vert="eaVert" lIns="45720" tIns="91440" rIns="45720" bIns="9144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90601" y="762000"/>
            <a:ext cx="7581900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AFB99-0EAB-4182-AFF8-E214C82A68F6}" type="datetimeFigureOut">
              <a:rPr lang="en-US" dirty="0"/>
              <a:t>4/21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 rot="5400000" flipV="1">
            <a:off x="10058400" y="59263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298315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4728" name="Rectangle 15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5376863"/>
            <a:ext cx="12192000" cy="1481138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35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Picture 6" descr="3. VA-PRIMARY-HORIZONTAL-WHITE-VECTOR2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5687901"/>
            <a:ext cx="5181600" cy="865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03096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967" y="163513"/>
            <a:ext cx="11033760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79967" y="1184372"/>
            <a:ext cx="11032068" cy="4075611"/>
          </a:xfrm>
          <a:prstGeom prst="rect">
            <a:avLst/>
          </a:prstGeom>
        </p:spPr>
        <p:txBody>
          <a:bodyPr/>
          <a:lstStyle>
            <a:lvl2pPr marL="344083" indent="-166684">
              <a:defRPr/>
            </a:lvl2pPr>
            <a:lvl3pPr marL="678639" indent="-158350">
              <a:defRPr/>
            </a:lvl3pPr>
            <a:lvl4pPr marL="1026293" indent="-163112"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29665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744" userDrawn="1">
          <p15:clr>
            <a:srgbClr val="FBAE40"/>
          </p15:clr>
        </p15:guide>
        <p15:guide id="2" pos="198" userDrawn="1">
          <p15:clr>
            <a:srgbClr val="FBAE40"/>
          </p15:clr>
        </p15:guide>
        <p15:guide id="3" pos="4122" userDrawn="1">
          <p15:clr>
            <a:srgbClr val="FBAE40"/>
          </p15:clr>
        </p15:guide>
        <p15:guide id="4" orient="horz" pos="3312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969" y="163513"/>
            <a:ext cx="11032067" cy="667512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79965" y="1184373"/>
            <a:ext cx="11033760" cy="4066903"/>
          </a:xfrm>
          <a:prstGeom prst="rect">
            <a:avLst/>
          </a:prstGeom>
        </p:spPr>
        <p:txBody>
          <a:bodyPr/>
          <a:lstStyle>
            <a:lvl1pPr marL="177400" indent="-177400">
              <a:buClr>
                <a:schemeClr val="tx2"/>
              </a:buClr>
              <a:buFont typeface="Arial" pitchFamily="34" charset="0"/>
              <a:buChar char="•"/>
              <a:defRPr/>
            </a:lvl1pPr>
            <a:lvl2pPr marL="342892" indent="-165493">
              <a:buFont typeface="Arial" pitchFamily="34" charset="0"/>
              <a:buChar char="-"/>
              <a:defRPr/>
            </a:lvl2pPr>
            <a:lvl3pPr marL="675068" indent="-152396">
              <a:defRPr/>
            </a:lvl3pPr>
            <a:lvl4pPr marL="1026293" indent="-163112"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203993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16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8" name="Object 3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9969" y="163513"/>
            <a:ext cx="11032067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19698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4728" name="Rectangle 15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5376863"/>
            <a:ext cx="12192000" cy="1481138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35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Picture 6" descr="3. VA-PRIMARY-HORIZONTAL-WHITE-VECTOR2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5687901"/>
            <a:ext cx="5181600" cy="865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06254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4728" name="Rectangle 15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5376863"/>
            <a:ext cx="12192000" cy="1481138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sz="1350" dirty="0">
              <a:solidFill>
                <a:srgbClr val="FFFFFF"/>
              </a:solidFill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7" name="Picture 6" descr="3. VA-PRIMARY-HORIZONTAL-WHITE-VECTOR2.pn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5687901"/>
            <a:ext cx="5181600" cy="865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1813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D3794B-289A-4A80-97D7-111025398D45}" type="datetimeFigureOut">
              <a:rPr lang="en-US" dirty="0"/>
              <a:t>4/21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8146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4572001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Oval 5"/>
          <p:cNvSpPr/>
          <p:nvPr/>
        </p:nvSpPr>
        <p:spPr>
          <a:xfrm>
            <a:off x="-1" y="0"/>
            <a:ext cx="12192000" cy="4572001"/>
          </a:xfrm>
          <a:custGeom>
            <a:avLst/>
            <a:gdLst/>
            <a:ahLst/>
            <a:cxnLst/>
            <a:rect l="l" t="t" r="r" b="b"/>
            <a:pathLst>
              <a:path w="12192000" h="4572001">
                <a:moveTo>
                  <a:pt x="12192000" y="4387986"/>
                </a:moveTo>
                <a:lnTo>
                  <a:pt x="12192000" y="4572001"/>
                </a:lnTo>
                <a:lnTo>
                  <a:pt x="12013927" y="4572001"/>
                </a:lnTo>
                <a:cubicBezTo>
                  <a:pt x="12084901" y="4522707"/>
                  <a:pt x="12145198" y="4460004"/>
                  <a:pt x="12192000" y="4387986"/>
                </a:cubicBezTo>
                <a:close/>
                <a:moveTo>
                  <a:pt x="12192000" y="4041440"/>
                </a:moveTo>
                <a:lnTo>
                  <a:pt x="12192000" y="4174488"/>
                </a:lnTo>
                <a:cubicBezTo>
                  <a:pt x="12005469" y="4244657"/>
                  <a:pt x="11857227" y="4389538"/>
                  <a:pt x="11786673" y="4572001"/>
                </a:cubicBezTo>
                <a:lnTo>
                  <a:pt x="11649784" y="4572001"/>
                </a:lnTo>
                <a:cubicBezTo>
                  <a:pt x="11730542" y="4320085"/>
                  <a:pt x="11933879" y="4121396"/>
                  <a:pt x="12192000" y="4041440"/>
                </a:cubicBezTo>
                <a:close/>
                <a:moveTo>
                  <a:pt x="10767111" y="3999419"/>
                </a:moveTo>
                <a:lnTo>
                  <a:pt x="10784198" y="4001042"/>
                </a:lnTo>
                <a:cubicBezTo>
                  <a:pt x="10816584" y="4001569"/>
                  <a:pt x="10848477" y="4004550"/>
                  <a:pt x="10879660" y="4010107"/>
                </a:cubicBezTo>
                <a:cubicBezTo>
                  <a:pt x="10885236" y="4009688"/>
                  <a:pt x="10890564" y="4010636"/>
                  <a:pt x="10895873" y="4011646"/>
                </a:cubicBezTo>
                <a:lnTo>
                  <a:pt x="10895990" y="4012794"/>
                </a:lnTo>
                <a:cubicBezTo>
                  <a:pt x="11208069" y="4064450"/>
                  <a:pt x="11461298" y="4283539"/>
                  <a:pt x="11554662" y="4572001"/>
                </a:cubicBezTo>
                <a:lnTo>
                  <a:pt x="11417114" y="4572001"/>
                </a:lnTo>
                <a:cubicBezTo>
                  <a:pt x="11333731" y="4357380"/>
                  <a:pt x="11143362" y="4194541"/>
                  <a:pt x="10909360" y="4144250"/>
                </a:cubicBezTo>
                <a:cubicBezTo>
                  <a:pt x="10943854" y="4319651"/>
                  <a:pt x="11046077" y="4471530"/>
                  <a:pt x="11189175" y="4572001"/>
                </a:cubicBezTo>
                <a:lnTo>
                  <a:pt x="10994934" y="4572001"/>
                </a:lnTo>
                <a:cubicBezTo>
                  <a:pt x="10878802" y="4452596"/>
                  <a:pt x="10800240" y="4298519"/>
                  <a:pt x="10775875" y="4127511"/>
                </a:cubicBezTo>
                <a:cubicBezTo>
                  <a:pt x="10775707" y="4127458"/>
                  <a:pt x="10775539" y="4127453"/>
                  <a:pt x="10775369" y="4127448"/>
                </a:cubicBezTo>
                <a:lnTo>
                  <a:pt x="10774831" y="4120772"/>
                </a:lnTo>
                <a:cubicBezTo>
                  <a:pt x="10769772" y="4090522"/>
                  <a:pt x="10767321" y="4059631"/>
                  <a:pt x="10767364" y="4028296"/>
                </a:cubicBezTo>
                <a:cubicBezTo>
                  <a:pt x="10766052" y="4022668"/>
                  <a:pt x="10765993" y="4017001"/>
                  <a:pt x="10765993" y="4011320"/>
                </a:cubicBezTo>
                <a:lnTo>
                  <a:pt x="10766587" y="3999880"/>
                </a:lnTo>
                <a:lnTo>
                  <a:pt x="10767085" y="3999913"/>
                </a:lnTo>
                <a:close/>
                <a:moveTo>
                  <a:pt x="10744358" y="3999419"/>
                </a:moveTo>
                <a:lnTo>
                  <a:pt x="10744384" y="3999913"/>
                </a:lnTo>
                <a:lnTo>
                  <a:pt x="10744882" y="3999880"/>
                </a:lnTo>
                <a:lnTo>
                  <a:pt x="10745476" y="4011320"/>
                </a:lnTo>
                <a:cubicBezTo>
                  <a:pt x="10745476" y="4017001"/>
                  <a:pt x="10745417" y="4022668"/>
                  <a:pt x="10744105" y="4028296"/>
                </a:cubicBezTo>
                <a:cubicBezTo>
                  <a:pt x="10744148" y="4059631"/>
                  <a:pt x="10741697" y="4090522"/>
                  <a:pt x="10736638" y="4120772"/>
                </a:cubicBezTo>
                <a:lnTo>
                  <a:pt x="10736100" y="4127448"/>
                </a:lnTo>
                <a:cubicBezTo>
                  <a:pt x="10735930" y="4127453"/>
                  <a:pt x="10735762" y="4127458"/>
                  <a:pt x="10735594" y="4127511"/>
                </a:cubicBezTo>
                <a:cubicBezTo>
                  <a:pt x="10711229" y="4298519"/>
                  <a:pt x="10632667" y="4452596"/>
                  <a:pt x="10516535" y="4572001"/>
                </a:cubicBezTo>
                <a:lnTo>
                  <a:pt x="10322294" y="4572001"/>
                </a:lnTo>
                <a:cubicBezTo>
                  <a:pt x="10465392" y="4471530"/>
                  <a:pt x="10567615" y="4319650"/>
                  <a:pt x="10602109" y="4144250"/>
                </a:cubicBezTo>
                <a:cubicBezTo>
                  <a:pt x="10368107" y="4194541"/>
                  <a:pt x="10177738" y="4357380"/>
                  <a:pt x="10094355" y="4572001"/>
                </a:cubicBezTo>
                <a:lnTo>
                  <a:pt x="9956808" y="4572001"/>
                </a:lnTo>
                <a:cubicBezTo>
                  <a:pt x="10050171" y="4283539"/>
                  <a:pt x="10303400" y="4064450"/>
                  <a:pt x="10615479" y="4012794"/>
                </a:cubicBezTo>
                <a:lnTo>
                  <a:pt x="10615596" y="4011646"/>
                </a:lnTo>
                <a:cubicBezTo>
                  <a:pt x="10620905" y="4010636"/>
                  <a:pt x="10626233" y="4009688"/>
                  <a:pt x="10631809" y="4010107"/>
                </a:cubicBezTo>
                <a:cubicBezTo>
                  <a:pt x="10662992" y="4004550"/>
                  <a:pt x="10694885" y="4001569"/>
                  <a:pt x="10727271" y="4001042"/>
                </a:cubicBezTo>
                <a:close/>
                <a:moveTo>
                  <a:pt x="9074958" y="3999419"/>
                </a:moveTo>
                <a:lnTo>
                  <a:pt x="9092045" y="4001042"/>
                </a:lnTo>
                <a:cubicBezTo>
                  <a:pt x="9124431" y="4001569"/>
                  <a:pt x="9156324" y="4004550"/>
                  <a:pt x="9187507" y="4010107"/>
                </a:cubicBezTo>
                <a:cubicBezTo>
                  <a:pt x="9193083" y="4009688"/>
                  <a:pt x="9198411" y="4010636"/>
                  <a:pt x="9203720" y="4011646"/>
                </a:cubicBezTo>
                <a:lnTo>
                  <a:pt x="9203837" y="4012794"/>
                </a:lnTo>
                <a:cubicBezTo>
                  <a:pt x="9515916" y="4064450"/>
                  <a:pt x="9769145" y="4283539"/>
                  <a:pt x="9862508" y="4572001"/>
                </a:cubicBezTo>
                <a:lnTo>
                  <a:pt x="9724961" y="4572001"/>
                </a:lnTo>
                <a:cubicBezTo>
                  <a:pt x="9641578" y="4357380"/>
                  <a:pt x="9451209" y="4194541"/>
                  <a:pt x="9217207" y="4144250"/>
                </a:cubicBezTo>
                <a:cubicBezTo>
                  <a:pt x="9251701" y="4319651"/>
                  <a:pt x="9353924" y="4471530"/>
                  <a:pt x="9497022" y="4572001"/>
                </a:cubicBezTo>
                <a:lnTo>
                  <a:pt x="9302781" y="4572001"/>
                </a:lnTo>
                <a:cubicBezTo>
                  <a:pt x="9186649" y="4452596"/>
                  <a:pt x="9108087" y="4298519"/>
                  <a:pt x="9083722" y="4127511"/>
                </a:cubicBezTo>
                <a:cubicBezTo>
                  <a:pt x="9083554" y="4127458"/>
                  <a:pt x="9083386" y="4127453"/>
                  <a:pt x="9083216" y="4127448"/>
                </a:cubicBezTo>
                <a:lnTo>
                  <a:pt x="9082678" y="4120772"/>
                </a:lnTo>
                <a:cubicBezTo>
                  <a:pt x="9077619" y="4090522"/>
                  <a:pt x="9075168" y="4059631"/>
                  <a:pt x="9075211" y="4028296"/>
                </a:cubicBezTo>
                <a:cubicBezTo>
                  <a:pt x="9073899" y="4022668"/>
                  <a:pt x="9073840" y="4017001"/>
                  <a:pt x="9073840" y="4011320"/>
                </a:cubicBezTo>
                <a:lnTo>
                  <a:pt x="9074434" y="3999880"/>
                </a:lnTo>
                <a:lnTo>
                  <a:pt x="9074932" y="3999913"/>
                </a:lnTo>
                <a:close/>
                <a:moveTo>
                  <a:pt x="9052207" y="3999419"/>
                </a:moveTo>
                <a:lnTo>
                  <a:pt x="9052233" y="3999913"/>
                </a:lnTo>
                <a:lnTo>
                  <a:pt x="9052731" y="3999880"/>
                </a:lnTo>
                <a:lnTo>
                  <a:pt x="9053325" y="4011320"/>
                </a:lnTo>
                <a:cubicBezTo>
                  <a:pt x="9053325" y="4017001"/>
                  <a:pt x="9053266" y="4022668"/>
                  <a:pt x="9051954" y="4028296"/>
                </a:cubicBezTo>
                <a:cubicBezTo>
                  <a:pt x="9051997" y="4059631"/>
                  <a:pt x="9049546" y="4090522"/>
                  <a:pt x="9044487" y="4120772"/>
                </a:cubicBezTo>
                <a:lnTo>
                  <a:pt x="9043949" y="4127448"/>
                </a:lnTo>
                <a:cubicBezTo>
                  <a:pt x="9043779" y="4127453"/>
                  <a:pt x="9043611" y="4127458"/>
                  <a:pt x="9043443" y="4127511"/>
                </a:cubicBezTo>
                <a:cubicBezTo>
                  <a:pt x="9019078" y="4298519"/>
                  <a:pt x="8940516" y="4452596"/>
                  <a:pt x="8824384" y="4572001"/>
                </a:cubicBezTo>
                <a:lnTo>
                  <a:pt x="8630143" y="4572001"/>
                </a:lnTo>
                <a:cubicBezTo>
                  <a:pt x="8773241" y="4471530"/>
                  <a:pt x="8875464" y="4319651"/>
                  <a:pt x="8909958" y="4144250"/>
                </a:cubicBezTo>
                <a:cubicBezTo>
                  <a:pt x="8675956" y="4194541"/>
                  <a:pt x="8485587" y="4357380"/>
                  <a:pt x="8402204" y="4572001"/>
                </a:cubicBezTo>
                <a:lnTo>
                  <a:pt x="8264656" y="4572001"/>
                </a:lnTo>
                <a:cubicBezTo>
                  <a:pt x="8358019" y="4283539"/>
                  <a:pt x="8611249" y="4064450"/>
                  <a:pt x="8923328" y="4012794"/>
                </a:cubicBezTo>
                <a:lnTo>
                  <a:pt x="8923445" y="4011646"/>
                </a:lnTo>
                <a:cubicBezTo>
                  <a:pt x="8928754" y="4010636"/>
                  <a:pt x="8934082" y="4009688"/>
                  <a:pt x="8939658" y="4010107"/>
                </a:cubicBezTo>
                <a:cubicBezTo>
                  <a:pt x="8970841" y="4004550"/>
                  <a:pt x="9002734" y="4001569"/>
                  <a:pt x="9035120" y="4001042"/>
                </a:cubicBezTo>
                <a:close/>
                <a:moveTo>
                  <a:pt x="7382807" y="3999419"/>
                </a:moveTo>
                <a:lnTo>
                  <a:pt x="7399895" y="4001042"/>
                </a:lnTo>
                <a:cubicBezTo>
                  <a:pt x="7432280" y="4001569"/>
                  <a:pt x="7464173" y="4004550"/>
                  <a:pt x="7495356" y="4010107"/>
                </a:cubicBezTo>
                <a:cubicBezTo>
                  <a:pt x="7500932" y="4009688"/>
                  <a:pt x="7506260" y="4010636"/>
                  <a:pt x="7511569" y="4011646"/>
                </a:cubicBezTo>
                <a:lnTo>
                  <a:pt x="7511686" y="4012794"/>
                </a:lnTo>
                <a:cubicBezTo>
                  <a:pt x="7823765" y="4064450"/>
                  <a:pt x="8076994" y="4283539"/>
                  <a:pt x="8170358" y="4572001"/>
                </a:cubicBezTo>
                <a:lnTo>
                  <a:pt x="8032809" y="4572001"/>
                </a:lnTo>
                <a:cubicBezTo>
                  <a:pt x="7949426" y="4357380"/>
                  <a:pt x="7759058" y="4194541"/>
                  <a:pt x="7525056" y="4144250"/>
                </a:cubicBezTo>
                <a:cubicBezTo>
                  <a:pt x="7559550" y="4319650"/>
                  <a:pt x="7661773" y="4471530"/>
                  <a:pt x="7804870" y="4572001"/>
                </a:cubicBezTo>
                <a:lnTo>
                  <a:pt x="7610630" y="4572001"/>
                </a:lnTo>
                <a:cubicBezTo>
                  <a:pt x="7494498" y="4452596"/>
                  <a:pt x="7415935" y="4298519"/>
                  <a:pt x="7391571" y="4127511"/>
                </a:cubicBezTo>
                <a:cubicBezTo>
                  <a:pt x="7391403" y="4127458"/>
                  <a:pt x="7391235" y="4127453"/>
                  <a:pt x="7391065" y="4127448"/>
                </a:cubicBezTo>
                <a:lnTo>
                  <a:pt x="7390527" y="4120772"/>
                </a:lnTo>
                <a:cubicBezTo>
                  <a:pt x="7385468" y="4090522"/>
                  <a:pt x="7383018" y="4059631"/>
                  <a:pt x="7383060" y="4028296"/>
                </a:cubicBezTo>
                <a:cubicBezTo>
                  <a:pt x="7381748" y="4022668"/>
                  <a:pt x="7381689" y="4017001"/>
                  <a:pt x="7381689" y="4011320"/>
                </a:cubicBezTo>
                <a:lnTo>
                  <a:pt x="7382283" y="3999880"/>
                </a:lnTo>
                <a:lnTo>
                  <a:pt x="7382781" y="3999913"/>
                </a:lnTo>
                <a:close/>
                <a:moveTo>
                  <a:pt x="7360056" y="3999419"/>
                </a:moveTo>
                <a:lnTo>
                  <a:pt x="7360082" y="3999913"/>
                </a:lnTo>
                <a:lnTo>
                  <a:pt x="7360580" y="3999880"/>
                </a:lnTo>
                <a:lnTo>
                  <a:pt x="7361174" y="4011320"/>
                </a:lnTo>
                <a:cubicBezTo>
                  <a:pt x="7361174" y="4017001"/>
                  <a:pt x="7361115" y="4022668"/>
                  <a:pt x="7359803" y="4028296"/>
                </a:cubicBezTo>
                <a:cubicBezTo>
                  <a:pt x="7359845" y="4059631"/>
                  <a:pt x="7357395" y="4090522"/>
                  <a:pt x="7352336" y="4120772"/>
                </a:cubicBezTo>
                <a:lnTo>
                  <a:pt x="7351798" y="4127448"/>
                </a:lnTo>
                <a:cubicBezTo>
                  <a:pt x="7351628" y="4127453"/>
                  <a:pt x="7351460" y="4127458"/>
                  <a:pt x="7351292" y="4127511"/>
                </a:cubicBezTo>
                <a:cubicBezTo>
                  <a:pt x="7326927" y="4298519"/>
                  <a:pt x="7248364" y="4452596"/>
                  <a:pt x="7132233" y="4572001"/>
                </a:cubicBezTo>
                <a:lnTo>
                  <a:pt x="6937992" y="4572001"/>
                </a:lnTo>
                <a:cubicBezTo>
                  <a:pt x="7081090" y="4471530"/>
                  <a:pt x="7183313" y="4319650"/>
                  <a:pt x="7217807" y="4144250"/>
                </a:cubicBezTo>
                <a:cubicBezTo>
                  <a:pt x="6983804" y="4194541"/>
                  <a:pt x="6793436" y="4357380"/>
                  <a:pt x="6710053" y="4572001"/>
                </a:cubicBezTo>
                <a:lnTo>
                  <a:pt x="6572505" y="4572001"/>
                </a:lnTo>
                <a:cubicBezTo>
                  <a:pt x="6665868" y="4283539"/>
                  <a:pt x="6919098" y="4064450"/>
                  <a:pt x="7231177" y="4012794"/>
                </a:cubicBezTo>
                <a:lnTo>
                  <a:pt x="7231294" y="4011646"/>
                </a:lnTo>
                <a:cubicBezTo>
                  <a:pt x="7236603" y="4010636"/>
                  <a:pt x="7241931" y="4009688"/>
                  <a:pt x="7247507" y="4010107"/>
                </a:cubicBezTo>
                <a:cubicBezTo>
                  <a:pt x="7278690" y="4004550"/>
                  <a:pt x="7310583" y="4001569"/>
                  <a:pt x="7342968" y="4001042"/>
                </a:cubicBezTo>
                <a:close/>
                <a:moveTo>
                  <a:pt x="5690656" y="3999419"/>
                </a:moveTo>
                <a:lnTo>
                  <a:pt x="5707743" y="4001042"/>
                </a:lnTo>
                <a:cubicBezTo>
                  <a:pt x="5740129" y="4001569"/>
                  <a:pt x="5772021" y="4004550"/>
                  <a:pt x="5803205" y="4010107"/>
                </a:cubicBezTo>
                <a:cubicBezTo>
                  <a:pt x="5808781" y="4009688"/>
                  <a:pt x="5814109" y="4010636"/>
                  <a:pt x="5819417" y="4011646"/>
                </a:cubicBezTo>
                <a:lnTo>
                  <a:pt x="5819534" y="4012794"/>
                </a:lnTo>
                <a:cubicBezTo>
                  <a:pt x="6131614" y="4064450"/>
                  <a:pt x="6384843" y="4283539"/>
                  <a:pt x="6478206" y="4572001"/>
                </a:cubicBezTo>
                <a:lnTo>
                  <a:pt x="6340658" y="4572001"/>
                </a:lnTo>
                <a:cubicBezTo>
                  <a:pt x="6257275" y="4357380"/>
                  <a:pt x="6066907" y="4194541"/>
                  <a:pt x="5832905" y="4144250"/>
                </a:cubicBezTo>
                <a:cubicBezTo>
                  <a:pt x="5867399" y="4319651"/>
                  <a:pt x="5969622" y="4471530"/>
                  <a:pt x="6112719" y="4572001"/>
                </a:cubicBezTo>
                <a:lnTo>
                  <a:pt x="5918478" y="4572001"/>
                </a:lnTo>
                <a:cubicBezTo>
                  <a:pt x="5802347" y="4452596"/>
                  <a:pt x="5723784" y="4298519"/>
                  <a:pt x="5699419" y="4127511"/>
                </a:cubicBezTo>
                <a:cubicBezTo>
                  <a:pt x="5699252" y="4127458"/>
                  <a:pt x="5699083" y="4127453"/>
                  <a:pt x="5698914" y="4127448"/>
                </a:cubicBezTo>
                <a:lnTo>
                  <a:pt x="5698375" y="4120772"/>
                </a:lnTo>
                <a:cubicBezTo>
                  <a:pt x="5693317" y="4090522"/>
                  <a:pt x="5690866" y="4059631"/>
                  <a:pt x="5690908" y="4028296"/>
                </a:cubicBezTo>
                <a:cubicBezTo>
                  <a:pt x="5689596" y="4022668"/>
                  <a:pt x="5689538" y="4017001"/>
                  <a:pt x="5689538" y="4011320"/>
                </a:cubicBezTo>
                <a:lnTo>
                  <a:pt x="5690132" y="3999880"/>
                </a:lnTo>
                <a:lnTo>
                  <a:pt x="5690630" y="3999913"/>
                </a:lnTo>
                <a:close/>
                <a:moveTo>
                  <a:pt x="5667905" y="3999419"/>
                </a:moveTo>
                <a:lnTo>
                  <a:pt x="5667931" y="3999913"/>
                </a:lnTo>
                <a:lnTo>
                  <a:pt x="5668429" y="3999880"/>
                </a:lnTo>
                <a:lnTo>
                  <a:pt x="5669023" y="4011320"/>
                </a:lnTo>
                <a:cubicBezTo>
                  <a:pt x="5669023" y="4017001"/>
                  <a:pt x="5668964" y="4022668"/>
                  <a:pt x="5667652" y="4028296"/>
                </a:cubicBezTo>
                <a:cubicBezTo>
                  <a:pt x="5667694" y="4059631"/>
                  <a:pt x="5665244" y="4090522"/>
                  <a:pt x="5660185" y="4120772"/>
                </a:cubicBezTo>
                <a:lnTo>
                  <a:pt x="5659647" y="4127448"/>
                </a:lnTo>
                <a:cubicBezTo>
                  <a:pt x="5659477" y="4127453"/>
                  <a:pt x="5659309" y="4127458"/>
                  <a:pt x="5659141" y="4127511"/>
                </a:cubicBezTo>
                <a:cubicBezTo>
                  <a:pt x="5634776" y="4298519"/>
                  <a:pt x="5556213" y="4452596"/>
                  <a:pt x="5440082" y="4572001"/>
                </a:cubicBezTo>
                <a:lnTo>
                  <a:pt x="5245841" y="4572001"/>
                </a:lnTo>
                <a:cubicBezTo>
                  <a:pt x="5388939" y="4471530"/>
                  <a:pt x="5491162" y="4319651"/>
                  <a:pt x="5525656" y="4144250"/>
                </a:cubicBezTo>
                <a:cubicBezTo>
                  <a:pt x="5291653" y="4194541"/>
                  <a:pt x="5101285" y="4357380"/>
                  <a:pt x="5017902" y="4572001"/>
                </a:cubicBezTo>
                <a:lnTo>
                  <a:pt x="4880354" y="4572001"/>
                </a:lnTo>
                <a:cubicBezTo>
                  <a:pt x="4973717" y="4283539"/>
                  <a:pt x="5226947" y="4064450"/>
                  <a:pt x="5539026" y="4012794"/>
                </a:cubicBezTo>
                <a:lnTo>
                  <a:pt x="5539143" y="4011646"/>
                </a:lnTo>
                <a:cubicBezTo>
                  <a:pt x="5544452" y="4010636"/>
                  <a:pt x="5549780" y="4009688"/>
                  <a:pt x="5555356" y="4010107"/>
                </a:cubicBezTo>
                <a:cubicBezTo>
                  <a:pt x="5586539" y="4004550"/>
                  <a:pt x="5618432" y="4001569"/>
                  <a:pt x="5650817" y="4001042"/>
                </a:cubicBezTo>
                <a:close/>
                <a:moveTo>
                  <a:pt x="3998505" y="3999419"/>
                </a:moveTo>
                <a:lnTo>
                  <a:pt x="4015592" y="4001042"/>
                </a:lnTo>
                <a:cubicBezTo>
                  <a:pt x="4047978" y="4001569"/>
                  <a:pt x="4079870" y="4004550"/>
                  <a:pt x="4111054" y="4010107"/>
                </a:cubicBezTo>
                <a:cubicBezTo>
                  <a:pt x="4116630" y="4009688"/>
                  <a:pt x="4121958" y="4010636"/>
                  <a:pt x="4127266" y="4011646"/>
                </a:cubicBezTo>
                <a:lnTo>
                  <a:pt x="4127384" y="4012794"/>
                </a:lnTo>
                <a:cubicBezTo>
                  <a:pt x="4439463" y="4064450"/>
                  <a:pt x="4692692" y="4283539"/>
                  <a:pt x="4786055" y="4572001"/>
                </a:cubicBezTo>
                <a:lnTo>
                  <a:pt x="4648508" y="4572001"/>
                </a:lnTo>
                <a:cubicBezTo>
                  <a:pt x="4565124" y="4357380"/>
                  <a:pt x="4374756" y="4194541"/>
                  <a:pt x="4140754" y="4144250"/>
                </a:cubicBezTo>
                <a:cubicBezTo>
                  <a:pt x="4175248" y="4319650"/>
                  <a:pt x="4277471" y="4471530"/>
                  <a:pt x="4420568" y="4572001"/>
                </a:cubicBezTo>
                <a:lnTo>
                  <a:pt x="4226327" y="4572001"/>
                </a:lnTo>
                <a:cubicBezTo>
                  <a:pt x="4110196" y="4452596"/>
                  <a:pt x="4031633" y="4298519"/>
                  <a:pt x="4007268" y="4127511"/>
                </a:cubicBezTo>
                <a:cubicBezTo>
                  <a:pt x="4007101" y="4127458"/>
                  <a:pt x="4006932" y="4127453"/>
                  <a:pt x="4006763" y="4127448"/>
                </a:cubicBezTo>
                <a:lnTo>
                  <a:pt x="4006225" y="4120772"/>
                </a:lnTo>
                <a:cubicBezTo>
                  <a:pt x="4001166" y="4090522"/>
                  <a:pt x="3998715" y="4059631"/>
                  <a:pt x="3998757" y="4028296"/>
                </a:cubicBezTo>
                <a:cubicBezTo>
                  <a:pt x="3997445" y="4022668"/>
                  <a:pt x="3997387" y="4017001"/>
                  <a:pt x="3997387" y="4011320"/>
                </a:cubicBezTo>
                <a:lnTo>
                  <a:pt x="3997981" y="3999880"/>
                </a:lnTo>
                <a:lnTo>
                  <a:pt x="3998479" y="3999913"/>
                </a:lnTo>
                <a:close/>
                <a:moveTo>
                  <a:pt x="3975754" y="3999419"/>
                </a:moveTo>
                <a:lnTo>
                  <a:pt x="3975780" y="3999913"/>
                </a:lnTo>
                <a:lnTo>
                  <a:pt x="3976278" y="3999880"/>
                </a:lnTo>
                <a:lnTo>
                  <a:pt x="3976872" y="4011320"/>
                </a:lnTo>
                <a:cubicBezTo>
                  <a:pt x="3976872" y="4017001"/>
                  <a:pt x="3976813" y="4022668"/>
                  <a:pt x="3975501" y="4028296"/>
                </a:cubicBezTo>
                <a:cubicBezTo>
                  <a:pt x="3975543" y="4059631"/>
                  <a:pt x="3973093" y="4090522"/>
                  <a:pt x="3968034" y="4120772"/>
                </a:cubicBezTo>
                <a:lnTo>
                  <a:pt x="3967496" y="4127448"/>
                </a:lnTo>
                <a:cubicBezTo>
                  <a:pt x="3967326" y="4127453"/>
                  <a:pt x="3967158" y="4127458"/>
                  <a:pt x="3966990" y="4127511"/>
                </a:cubicBezTo>
                <a:cubicBezTo>
                  <a:pt x="3942625" y="4298519"/>
                  <a:pt x="3864063" y="4452596"/>
                  <a:pt x="3747931" y="4572001"/>
                </a:cubicBezTo>
                <a:lnTo>
                  <a:pt x="3553690" y="4572001"/>
                </a:lnTo>
                <a:cubicBezTo>
                  <a:pt x="3696788" y="4471530"/>
                  <a:pt x="3799011" y="4319651"/>
                  <a:pt x="3833505" y="4144250"/>
                </a:cubicBezTo>
                <a:cubicBezTo>
                  <a:pt x="3599503" y="4194541"/>
                  <a:pt x="3409134" y="4357380"/>
                  <a:pt x="3325751" y="4572001"/>
                </a:cubicBezTo>
                <a:lnTo>
                  <a:pt x="3188203" y="4572001"/>
                </a:lnTo>
                <a:cubicBezTo>
                  <a:pt x="3281566" y="4283539"/>
                  <a:pt x="3534796" y="4064450"/>
                  <a:pt x="3846875" y="4012794"/>
                </a:cubicBezTo>
                <a:lnTo>
                  <a:pt x="3846992" y="4011646"/>
                </a:lnTo>
                <a:cubicBezTo>
                  <a:pt x="3852301" y="4010636"/>
                  <a:pt x="3857629" y="4009688"/>
                  <a:pt x="3863205" y="4010107"/>
                </a:cubicBezTo>
                <a:cubicBezTo>
                  <a:pt x="3894388" y="4004550"/>
                  <a:pt x="3926281" y="4001569"/>
                  <a:pt x="3958666" y="4001042"/>
                </a:cubicBezTo>
                <a:close/>
                <a:moveTo>
                  <a:pt x="2306354" y="3999419"/>
                </a:moveTo>
                <a:lnTo>
                  <a:pt x="2323441" y="4001042"/>
                </a:lnTo>
                <a:cubicBezTo>
                  <a:pt x="2355827" y="4001569"/>
                  <a:pt x="2387719" y="4004550"/>
                  <a:pt x="2418903" y="4010107"/>
                </a:cubicBezTo>
                <a:cubicBezTo>
                  <a:pt x="2424479" y="4009688"/>
                  <a:pt x="2429807" y="4010636"/>
                  <a:pt x="2435115" y="4011646"/>
                </a:cubicBezTo>
                <a:lnTo>
                  <a:pt x="2435233" y="4012794"/>
                </a:lnTo>
                <a:cubicBezTo>
                  <a:pt x="2747312" y="4064450"/>
                  <a:pt x="3000542" y="4283539"/>
                  <a:pt x="3093904" y="4572001"/>
                </a:cubicBezTo>
                <a:lnTo>
                  <a:pt x="2956357" y="4572001"/>
                </a:lnTo>
                <a:cubicBezTo>
                  <a:pt x="2872974" y="4357380"/>
                  <a:pt x="2682605" y="4194541"/>
                  <a:pt x="2448603" y="4144250"/>
                </a:cubicBezTo>
                <a:cubicBezTo>
                  <a:pt x="2483097" y="4319651"/>
                  <a:pt x="2585320" y="4471530"/>
                  <a:pt x="2728418" y="4572001"/>
                </a:cubicBezTo>
                <a:lnTo>
                  <a:pt x="2534177" y="4572001"/>
                </a:lnTo>
                <a:cubicBezTo>
                  <a:pt x="2418045" y="4452596"/>
                  <a:pt x="2339482" y="4298519"/>
                  <a:pt x="2315117" y="4127511"/>
                </a:cubicBezTo>
                <a:cubicBezTo>
                  <a:pt x="2314950" y="4127458"/>
                  <a:pt x="2314781" y="4127453"/>
                  <a:pt x="2314612" y="4127448"/>
                </a:cubicBezTo>
                <a:lnTo>
                  <a:pt x="2314074" y="4120772"/>
                </a:lnTo>
                <a:cubicBezTo>
                  <a:pt x="2309015" y="4090522"/>
                  <a:pt x="2306564" y="4059631"/>
                  <a:pt x="2306606" y="4028296"/>
                </a:cubicBezTo>
                <a:cubicBezTo>
                  <a:pt x="2305294" y="4022668"/>
                  <a:pt x="2305236" y="4017001"/>
                  <a:pt x="2305236" y="4011320"/>
                </a:cubicBezTo>
                <a:lnTo>
                  <a:pt x="2305830" y="3999880"/>
                </a:lnTo>
                <a:lnTo>
                  <a:pt x="2306328" y="3999913"/>
                </a:lnTo>
                <a:close/>
                <a:moveTo>
                  <a:pt x="2283603" y="3999419"/>
                </a:moveTo>
                <a:lnTo>
                  <a:pt x="2283629" y="3999913"/>
                </a:lnTo>
                <a:lnTo>
                  <a:pt x="2284127" y="3999880"/>
                </a:lnTo>
                <a:lnTo>
                  <a:pt x="2284721" y="4011320"/>
                </a:lnTo>
                <a:cubicBezTo>
                  <a:pt x="2284721" y="4017001"/>
                  <a:pt x="2284662" y="4022668"/>
                  <a:pt x="2283350" y="4028296"/>
                </a:cubicBezTo>
                <a:cubicBezTo>
                  <a:pt x="2283392" y="4059631"/>
                  <a:pt x="2280942" y="4090522"/>
                  <a:pt x="2275883" y="4120772"/>
                </a:cubicBezTo>
                <a:lnTo>
                  <a:pt x="2275345" y="4127448"/>
                </a:lnTo>
                <a:cubicBezTo>
                  <a:pt x="2275175" y="4127453"/>
                  <a:pt x="2275007" y="4127458"/>
                  <a:pt x="2274839" y="4127511"/>
                </a:cubicBezTo>
                <a:cubicBezTo>
                  <a:pt x="2250474" y="4298519"/>
                  <a:pt x="2171912" y="4452596"/>
                  <a:pt x="2055780" y="4572001"/>
                </a:cubicBezTo>
                <a:lnTo>
                  <a:pt x="1861539" y="4572001"/>
                </a:lnTo>
                <a:cubicBezTo>
                  <a:pt x="2004637" y="4471530"/>
                  <a:pt x="2106860" y="4319650"/>
                  <a:pt x="2141354" y="4144250"/>
                </a:cubicBezTo>
                <a:cubicBezTo>
                  <a:pt x="1907352" y="4194541"/>
                  <a:pt x="1716983" y="4357380"/>
                  <a:pt x="1633600" y="4572001"/>
                </a:cubicBezTo>
                <a:lnTo>
                  <a:pt x="1496052" y="4572001"/>
                </a:lnTo>
                <a:cubicBezTo>
                  <a:pt x="1589416" y="4283539"/>
                  <a:pt x="1842645" y="4064450"/>
                  <a:pt x="2154724" y="4012794"/>
                </a:cubicBezTo>
                <a:lnTo>
                  <a:pt x="2154841" y="4011646"/>
                </a:lnTo>
                <a:cubicBezTo>
                  <a:pt x="2160150" y="4010636"/>
                  <a:pt x="2165478" y="4009688"/>
                  <a:pt x="2171054" y="4010107"/>
                </a:cubicBezTo>
                <a:cubicBezTo>
                  <a:pt x="2202237" y="4004550"/>
                  <a:pt x="2234130" y="4001569"/>
                  <a:pt x="2266515" y="4001042"/>
                </a:cubicBezTo>
                <a:close/>
                <a:moveTo>
                  <a:pt x="614203" y="3999419"/>
                </a:moveTo>
                <a:lnTo>
                  <a:pt x="631290" y="4001042"/>
                </a:lnTo>
                <a:cubicBezTo>
                  <a:pt x="663676" y="4001569"/>
                  <a:pt x="695568" y="4004550"/>
                  <a:pt x="726752" y="4010107"/>
                </a:cubicBezTo>
                <a:cubicBezTo>
                  <a:pt x="732328" y="4009688"/>
                  <a:pt x="737656" y="4010636"/>
                  <a:pt x="742964" y="4011646"/>
                </a:cubicBezTo>
                <a:lnTo>
                  <a:pt x="743081" y="4012794"/>
                </a:lnTo>
                <a:cubicBezTo>
                  <a:pt x="1055161" y="4064450"/>
                  <a:pt x="1308390" y="4283539"/>
                  <a:pt x="1401754" y="4572001"/>
                </a:cubicBezTo>
                <a:lnTo>
                  <a:pt x="1264205" y="4572001"/>
                </a:lnTo>
                <a:cubicBezTo>
                  <a:pt x="1180823" y="4357380"/>
                  <a:pt x="990454" y="4194541"/>
                  <a:pt x="756452" y="4144250"/>
                </a:cubicBezTo>
                <a:cubicBezTo>
                  <a:pt x="790946" y="4319651"/>
                  <a:pt x="893169" y="4471530"/>
                  <a:pt x="1036266" y="4572001"/>
                </a:cubicBezTo>
                <a:lnTo>
                  <a:pt x="842026" y="4572001"/>
                </a:lnTo>
                <a:cubicBezTo>
                  <a:pt x="725894" y="4452596"/>
                  <a:pt x="647331" y="4298519"/>
                  <a:pt x="622966" y="4127511"/>
                </a:cubicBezTo>
                <a:cubicBezTo>
                  <a:pt x="622799" y="4127458"/>
                  <a:pt x="622630" y="4127453"/>
                  <a:pt x="622461" y="4127448"/>
                </a:cubicBezTo>
                <a:lnTo>
                  <a:pt x="621923" y="4120772"/>
                </a:lnTo>
                <a:cubicBezTo>
                  <a:pt x="616864" y="4090522"/>
                  <a:pt x="614413" y="4059631"/>
                  <a:pt x="614455" y="4028296"/>
                </a:cubicBezTo>
                <a:cubicBezTo>
                  <a:pt x="613143" y="4022668"/>
                  <a:pt x="613085" y="4017001"/>
                  <a:pt x="613085" y="4011320"/>
                </a:cubicBezTo>
                <a:lnTo>
                  <a:pt x="613679" y="3999880"/>
                </a:lnTo>
                <a:lnTo>
                  <a:pt x="614177" y="3999913"/>
                </a:lnTo>
                <a:close/>
                <a:moveTo>
                  <a:pt x="591452" y="3999419"/>
                </a:moveTo>
                <a:lnTo>
                  <a:pt x="591478" y="3999913"/>
                </a:lnTo>
                <a:lnTo>
                  <a:pt x="591976" y="3999880"/>
                </a:lnTo>
                <a:lnTo>
                  <a:pt x="592570" y="4011320"/>
                </a:lnTo>
                <a:cubicBezTo>
                  <a:pt x="592570" y="4017001"/>
                  <a:pt x="592511" y="4022668"/>
                  <a:pt x="591199" y="4028296"/>
                </a:cubicBezTo>
                <a:cubicBezTo>
                  <a:pt x="591242" y="4059631"/>
                  <a:pt x="588791" y="4090522"/>
                  <a:pt x="583732" y="4120772"/>
                </a:cubicBezTo>
                <a:lnTo>
                  <a:pt x="583194" y="4127448"/>
                </a:lnTo>
                <a:cubicBezTo>
                  <a:pt x="583024" y="4127453"/>
                  <a:pt x="582856" y="4127458"/>
                  <a:pt x="582689" y="4127511"/>
                </a:cubicBezTo>
                <a:cubicBezTo>
                  <a:pt x="558275" y="4298863"/>
                  <a:pt x="479445" y="4453216"/>
                  <a:pt x="362360" y="4572001"/>
                </a:cubicBezTo>
                <a:lnTo>
                  <a:pt x="169811" y="4572001"/>
                </a:lnTo>
                <a:cubicBezTo>
                  <a:pt x="312603" y="4471357"/>
                  <a:pt x="414729" y="4319551"/>
                  <a:pt x="449203" y="4144250"/>
                </a:cubicBezTo>
                <a:cubicBezTo>
                  <a:pt x="258971" y="4185134"/>
                  <a:pt x="97576" y="4300399"/>
                  <a:pt x="0" y="4458139"/>
                </a:cubicBezTo>
                <a:lnTo>
                  <a:pt x="0" y="4251345"/>
                </a:lnTo>
                <a:cubicBezTo>
                  <a:pt x="121484" y="4128438"/>
                  <a:pt x="282199" y="4042650"/>
                  <a:pt x="462573" y="4012794"/>
                </a:cubicBezTo>
                <a:lnTo>
                  <a:pt x="462690" y="4011646"/>
                </a:lnTo>
                <a:cubicBezTo>
                  <a:pt x="467999" y="4010636"/>
                  <a:pt x="473327" y="4009688"/>
                  <a:pt x="478903" y="4010107"/>
                </a:cubicBezTo>
                <a:cubicBezTo>
                  <a:pt x="510086" y="4004550"/>
                  <a:pt x="541979" y="4001569"/>
                  <a:pt x="574365" y="4001042"/>
                </a:cubicBezTo>
                <a:close/>
                <a:moveTo>
                  <a:pt x="11452667" y="3304913"/>
                </a:moveTo>
                <a:cubicBezTo>
                  <a:pt x="11177477" y="3363591"/>
                  <a:pt x="10962633" y="3576701"/>
                  <a:pt x="10909358" y="3845480"/>
                </a:cubicBezTo>
                <a:cubicBezTo>
                  <a:pt x="11184548" y="3786801"/>
                  <a:pt x="11399391" y="3573691"/>
                  <a:pt x="11452667" y="3304913"/>
                </a:cubicBezTo>
                <a:close/>
                <a:moveTo>
                  <a:pt x="10058800" y="3304913"/>
                </a:moveTo>
                <a:cubicBezTo>
                  <a:pt x="10112076" y="3573691"/>
                  <a:pt x="10326919" y="3786801"/>
                  <a:pt x="10602109" y="3845480"/>
                </a:cubicBezTo>
                <a:cubicBezTo>
                  <a:pt x="10548834" y="3576701"/>
                  <a:pt x="10333990" y="3363591"/>
                  <a:pt x="10058800" y="3304913"/>
                </a:cubicBezTo>
                <a:close/>
                <a:moveTo>
                  <a:pt x="9760514" y="3304913"/>
                </a:moveTo>
                <a:cubicBezTo>
                  <a:pt x="9485324" y="3363591"/>
                  <a:pt x="9270480" y="3576701"/>
                  <a:pt x="9217205" y="3845480"/>
                </a:cubicBezTo>
                <a:cubicBezTo>
                  <a:pt x="9492395" y="3786801"/>
                  <a:pt x="9707238" y="3573691"/>
                  <a:pt x="9760514" y="3304913"/>
                </a:cubicBezTo>
                <a:close/>
                <a:moveTo>
                  <a:pt x="8366649" y="3304913"/>
                </a:moveTo>
                <a:cubicBezTo>
                  <a:pt x="8419925" y="3573691"/>
                  <a:pt x="8634768" y="3786801"/>
                  <a:pt x="8909958" y="3845480"/>
                </a:cubicBezTo>
                <a:cubicBezTo>
                  <a:pt x="8856683" y="3576701"/>
                  <a:pt x="8641839" y="3363591"/>
                  <a:pt x="8366649" y="3304913"/>
                </a:cubicBezTo>
                <a:close/>
                <a:moveTo>
                  <a:pt x="8068363" y="3304913"/>
                </a:moveTo>
                <a:cubicBezTo>
                  <a:pt x="7793173" y="3363591"/>
                  <a:pt x="7578329" y="3576701"/>
                  <a:pt x="7525054" y="3845480"/>
                </a:cubicBezTo>
                <a:cubicBezTo>
                  <a:pt x="7800244" y="3786801"/>
                  <a:pt x="8015087" y="3573691"/>
                  <a:pt x="8068363" y="3304913"/>
                </a:cubicBezTo>
                <a:close/>
                <a:moveTo>
                  <a:pt x="6674498" y="3304913"/>
                </a:moveTo>
                <a:cubicBezTo>
                  <a:pt x="6727774" y="3573691"/>
                  <a:pt x="6942617" y="3786801"/>
                  <a:pt x="7217807" y="3845480"/>
                </a:cubicBezTo>
                <a:cubicBezTo>
                  <a:pt x="7164532" y="3576701"/>
                  <a:pt x="6949688" y="3363591"/>
                  <a:pt x="6674498" y="3304913"/>
                </a:cubicBezTo>
                <a:close/>
                <a:moveTo>
                  <a:pt x="6376212" y="3304913"/>
                </a:moveTo>
                <a:cubicBezTo>
                  <a:pt x="6101022" y="3363591"/>
                  <a:pt x="5886178" y="3576701"/>
                  <a:pt x="5832903" y="3845480"/>
                </a:cubicBezTo>
                <a:cubicBezTo>
                  <a:pt x="6108093" y="3786801"/>
                  <a:pt x="6322936" y="3573691"/>
                  <a:pt x="6376212" y="3304913"/>
                </a:cubicBezTo>
                <a:close/>
                <a:moveTo>
                  <a:pt x="4982347" y="3304913"/>
                </a:moveTo>
                <a:cubicBezTo>
                  <a:pt x="5035623" y="3573691"/>
                  <a:pt x="5250466" y="3786801"/>
                  <a:pt x="5525656" y="3845480"/>
                </a:cubicBezTo>
                <a:cubicBezTo>
                  <a:pt x="5472381" y="3576701"/>
                  <a:pt x="5257537" y="3363591"/>
                  <a:pt x="4982347" y="3304913"/>
                </a:cubicBezTo>
                <a:close/>
                <a:moveTo>
                  <a:pt x="4684061" y="3304913"/>
                </a:moveTo>
                <a:cubicBezTo>
                  <a:pt x="4408871" y="3363591"/>
                  <a:pt x="4194027" y="3576701"/>
                  <a:pt x="4140752" y="3845480"/>
                </a:cubicBezTo>
                <a:cubicBezTo>
                  <a:pt x="4415942" y="3786801"/>
                  <a:pt x="4630785" y="3573691"/>
                  <a:pt x="4684061" y="3304913"/>
                </a:cubicBezTo>
                <a:close/>
                <a:moveTo>
                  <a:pt x="3290196" y="3304913"/>
                </a:moveTo>
                <a:cubicBezTo>
                  <a:pt x="3343472" y="3573691"/>
                  <a:pt x="3558315" y="3786801"/>
                  <a:pt x="3833505" y="3845480"/>
                </a:cubicBezTo>
                <a:cubicBezTo>
                  <a:pt x="3780230" y="3576701"/>
                  <a:pt x="3565386" y="3363591"/>
                  <a:pt x="3290196" y="3304913"/>
                </a:cubicBezTo>
                <a:close/>
                <a:moveTo>
                  <a:pt x="2991910" y="3304913"/>
                </a:moveTo>
                <a:cubicBezTo>
                  <a:pt x="2716720" y="3363591"/>
                  <a:pt x="2501876" y="3576701"/>
                  <a:pt x="2448601" y="3845480"/>
                </a:cubicBezTo>
                <a:cubicBezTo>
                  <a:pt x="2723791" y="3786801"/>
                  <a:pt x="2938634" y="3573691"/>
                  <a:pt x="2991910" y="3304913"/>
                </a:cubicBezTo>
                <a:close/>
                <a:moveTo>
                  <a:pt x="1598045" y="3304913"/>
                </a:moveTo>
                <a:cubicBezTo>
                  <a:pt x="1651321" y="3573691"/>
                  <a:pt x="1866164" y="3786801"/>
                  <a:pt x="2141354" y="3845480"/>
                </a:cubicBezTo>
                <a:cubicBezTo>
                  <a:pt x="2088079" y="3576701"/>
                  <a:pt x="1873235" y="3363591"/>
                  <a:pt x="1598045" y="3304913"/>
                </a:cubicBezTo>
                <a:close/>
                <a:moveTo>
                  <a:pt x="1299759" y="3304913"/>
                </a:moveTo>
                <a:cubicBezTo>
                  <a:pt x="1024569" y="3363591"/>
                  <a:pt x="809725" y="3576701"/>
                  <a:pt x="756450" y="3845480"/>
                </a:cubicBezTo>
                <a:cubicBezTo>
                  <a:pt x="1031640" y="3786801"/>
                  <a:pt x="1246483" y="3573691"/>
                  <a:pt x="1299759" y="3304913"/>
                </a:cubicBezTo>
                <a:close/>
                <a:moveTo>
                  <a:pt x="0" y="3200906"/>
                </a:moveTo>
                <a:cubicBezTo>
                  <a:pt x="306658" y="3291386"/>
                  <a:pt x="537576" y="3547942"/>
                  <a:pt x="582690" y="3862087"/>
                </a:cubicBezTo>
                <a:cubicBezTo>
                  <a:pt x="582857" y="3862140"/>
                  <a:pt x="583026" y="3862145"/>
                  <a:pt x="583195" y="3862150"/>
                </a:cubicBezTo>
                <a:lnTo>
                  <a:pt x="583735" y="3868787"/>
                </a:lnTo>
                <a:cubicBezTo>
                  <a:pt x="588792" y="3898794"/>
                  <a:pt x="591242" y="3929436"/>
                  <a:pt x="591199" y="3960518"/>
                </a:cubicBezTo>
                <a:cubicBezTo>
                  <a:pt x="592511" y="3966104"/>
                  <a:pt x="592570" y="3971728"/>
                  <a:pt x="592570" y="3977366"/>
                </a:cubicBezTo>
                <a:cubicBezTo>
                  <a:pt x="592570" y="3981158"/>
                  <a:pt x="592543" y="3984944"/>
                  <a:pt x="591977" y="3988716"/>
                </a:cubicBezTo>
                <a:lnTo>
                  <a:pt x="591478" y="3988683"/>
                </a:lnTo>
                <a:lnTo>
                  <a:pt x="591452" y="3989174"/>
                </a:lnTo>
                <a:lnTo>
                  <a:pt x="574334" y="3987561"/>
                </a:lnTo>
                <a:cubicBezTo>
                  <a:pt x="541959" y="3987038"/>
                  <a:pt x="510079" y="3984080"/>
                  <a:pt x="478907" y="3978570"/>
                </a:cubicBezTo>
                <a:cubicBezTo>
                  <a:pt x="473330" y="3978986"/>
                  <a:pt x="468001" y="3978045"/>
                  <a:pt x="462690" y="3977042"/>
                </a:cubicBezTo>
                <a:lnTo>
                  <a:pt x="462574" y="3975903"/>
                </a:lnTo>
                <a:cubicBezTo>
                  <a:pt x="282200" y="3946281"/>
                  <a:pt x="121485" y="3861168"/>
                  <a:pt x="0" y="3739225"/>
                </a:cubicBezTo>
                <a:lnTo>
                  <a:pt x="0" y="3534056"/>
                </a:lnTo>
                <a:cubicBezTo>
                  <a:pt x="97584" y="3690562"/>
                  <a:pt x="258975" y="3804918"/>
                  <a:pt x="449203" y="3845480"/>
                </a:cubicBezTo>
                <a:cubicBezTo>
                  <a:pt x="402182" y="3608252"/>
                  <a:pt x="229297" y="3414390"/>
                  <a:pt x="0" y="3332205"/>
                </a:cubicBezTo>
                <a:close/>
                <a:moveTo>
                  <a:pt x="11608704" y="3161219"/>
                </a:moveTo>
                <a:lnTo>
                  <a:pt x="11625791" y="3162829"/>
                </a:lnTo>
                <a:cubicBezTo>
                  <a:pt x="11658177" y="3163352"/>
                  <a:pt x="11690070" y="3166310"/>
                  <a:pt x="11721253" y="3171823"/>
                </a:cubicBezTo>
                <a:cubicBezTo>
                  <a:pt x="11726829" y="3171407"/>
                  <a:pt x="11732157" y="3172348"/>
                  <a:pt x="11737466" y="3173350"/>
                </a:cubicBezTo>
                <a:lnTo>
                  <a:pt x="11737583" y="3174489"/>
                </a:lnTo>
                <a:cubicBezTo>
                  <a:pt x="11914088" y="3203476"/>
                  <a:pt x="12071767" y="3285599"/>
                  <a:pt x="12192000" y="3403667"/>
                </a:cubicBezTo>
                <a:lnTo>
                  <a:pt x="12192000" y="3603658"/>
                </a:lnTo>
                <a:cubicBezTo>
                  <a:pt x="12093732" y="3453636"/>
                  <a:pt x="11935983" y="3344367"/>
                  <a:pt x="11750953" y="3304913"/>
                </a:cubicBezTo>
                <a:cubicBezTo>
                  <a:pt x="11797422" y="3539349"/>
                  <a:pt x="11966808" y="3731433"/>
                  <a:pt x="12192000" y="3815480"/>
                </a:cubicBezTo>
                <a:lnTo>
                  <a:pt x="12192000" y="3947482"/>
                </a:lnTo>
                <a:cubicBezTo>
                  <a:pt x="11889465" y="3854506"/>
                  <a:pt x="11662185" y="3599697"/>
                  <a:pt x="11617468" y="3288305"/>
                </a:cubicBezTo>
                <a:cubicBezTo>
                  <a:pt x="11617300" y="3288253"/>
                  <a:pt x="11617132" y="3288248"/>
                  <a:pt x="11616962" y="3288243"/>
                </a:cubicBezTo>
                <a:lnTo>
                  <a:pt x="11616424" y="3281619"/>
                </a:lnTo>
                <a:cubicBezTo>
                  <a:pt x="11611365" y="3251607"/>
                  <a:pt x="11608914" y="3220958"/>
                  <a:pt x="11608957" y="3189869"/>
                </a:cubicBezTo>
                <a:cubicBezTo>
                  <a:pt x="11607645" y="3184286"/>
                  <a:pt x="11607586" y="3178663"/>
                  <a:pt x="11607586" y="3173027"/>
                </a:cubicBezTo>
                <a:lnTo>
                  <a:pt x="11608180" y="3161677"/>
                </a:lnTo>
                <a:lnTo>
                  <a:pt x="11608678" y="3161709"/>
                </a:lnTo>
                <a:close/>
                <a:moveTo>
                  <a:pt x="11594916" y="3161219"/>
                </a:moveTo>
                <a:lnTo>
                  <a:pt x="11594942" y="3161709"/>
                </a:lnTo>
                <a:lnTo>
                  <a:pt x="11595440" y="3161677"/>
                </a:lnTo>
                <a:lnTo>
                  <a:pt x="11596034" y="3173027"/>
                </a:lnTo>
                <a:cubicBezTo>
                  <a:pt x="11596034" y="3178663"/>
                  <a:pt x="11595975" y="3184286"/>
                  <a:pt x="11594663" y="3189869"/>
                </a:cubicBezTo>
                <a:cubicBezTo>
                  <a:pt x="11594706" y="3220958"/>
                  <a:pt x="11592255" y="3251607"/>
                  <a:pt x="11587196" y="3281619"/>
                </a:cubicBezTo>
                <a:lnTo>
                  <a:pt x="11586658" y="3288243"/>
                </a:lnTo>
                <a:cubicBezTo>
                  <a:pt x="11586488" y="3288248"/>
                  <a:pt x="11586320" y="3288253"/>
                  <a:pt x="11586152" y="3288305"/>
                </a:cubicBezTo>
                <a:cubicBezTo>
                  <a:pt x="11535877" y="3638399"/>
                  <a:pt x="11254838" y="3916971"/>
                  <a:pt x="10895987" y="3975903"/>
                </a:cubicBezTo>
                <a:lnTo>
                  <a:pt x="10895871" y="3977042"/>
                </a:lnTo>
                <a:cubicBezTo>
                  <a:pt x="10890560" y="3978045"/>
                  <a:pt x="10885231" y="3978986"/>
                  <a:pt x="10879654" y="3978570"/>
                </a:cubicBezTo>
                <a:cubicBezTo>
                  <a:pt x="10848482" y="3984080"/>
                  <a:pt x="10816602" y="3987038"/>
                  <a:pt x="10784227" y="3987561"/>
                </a:cubicBezTo>
                <a:lnTo>
                  <a:pt x="10767109" y="3989174"/>
                </a:lnTo>
                <a:lnTo>
                  <a:pt x="10767083" y="3988683"/>
                </a:lnTo>
                <a:lnTo>
                  <a:pt x="10766584" y="3988716"/>
                </a:lnTo>
                <a:cubicBezTo>
                  <a:pt x="10766018" y="3984944"/>
                  <a:pt x="10765991" y="3981158"/>
                  <a:pt x="10765991" y="3977366"/>
                </a:cubicBezTo>
                <a:cubicBezTo>
                  <a:pt x="10765991" y="3971728"/>
                  <a:pt x="10766050" y="3966104"/>
                  <a:pt x="10767362" y="3960518"/>
                </a:cubicBezTo>
                <a:cubicBezTo>
                  <a:pt x="10767319" y="3929436"/>
                  <a:pt x="10769769" y="3898794"/>
                  <a:pt x="10774826" y="3868787"/>
                </a:cubicBezTo>
                <a:lnTo>
                  <a:pt x="10775366" y="3862150"/>
                </a:lnTo>
                <a:cubicBezTo>
                  <a:pt x="10775535" y="3862145"/>
                  <a:pt x="10775704" y="3862140"/>
                  <a:pt x="10775872" y="3862087"/>
                </a:cubicBezTo>
                <a:cubicBezTo>
                  <a:pt x="10826148" y="3511992"/>
                  <a:pt x="11107187" y="3233421"/>
                  <a:pt x="11466037" y="3174489"/>
                </a:cubicBezTo>
                <a:lnTo>
                  <a:pt x="11466154" y="3173350"/>
                </a:lnTo>
                <a:cubicBezTo>
                  <a:pt x="11471463" y="3172348"/>
                  <a:pt x="11476791" y="3171407"/>
                  <a:pt x="11482367" y="3171823"/>
                </a:cubicBezTo>
                <a:cubicBezTo>
                  <a:pt x="11513550" y="3166310"/>
                  <a:pt x="11545443" y="3163352"/>
                  <a:pt x="11577829" y="3162829"/>
                </a:cubicBezTo>
                <a:close/>
                <a:moveTo>
                  <a:pt x="9916551" y="3161219"/>
                </a:moveTo>
                <a:lnTo>
                  <a:pt x="9933638" y="3162829"/>
                </a:lnTo>
                <a:cubicBezTo>
                  <a:pt x="9966024" y="3163352"/>
                  <a:pt x="9997917" y="3166310"/>
                  <a:pt x="10029100" y="3171823"/>
                </a:cubicBezTo>
                <a:cubicBezTo>
                  <a:pt x="10034676" y="3171407"/>
                  <a:pt x="10040004" y="3172348"/>
                  <a:pt x="10045313" y="3173350"/>
                </a:cubicBezTo>
                <a:lnTo>
                  <a:pt x="10045430" y="3174489"/>
                </a:lnTo>
                <a:cubicBezTo>
                  <a:pt x="10404280" y="3233421"/>
                  <a:pt x="10685319" y="3511992"/>
                  <a:pt x="10735596" y="3862087"/>
                </a:cubicBezTo>
                <a:cubicBezTo>
                  <a:pt x="10735763" y="3862140"/>
                  <a:pt x="10735932" y="3862145"/>
                  <a:pt x="10736101" y="3862150"/>
                </a:cubicBezTo>
                <a:lnTo>
                  <a:pt x="10736641" y="3868787"/>
                </a:lnTo>
                <a:cubicBezTo>
                  <a:pt x="10741698" y="3898794"/>
                  <a:pt x="10744148" y="3929436"/>
                  <a:pt x="10744105" y="3960518"/>
                </a:cubicBezTo>
                <a:cubicBezTo>
                  <a:pt x="10745417" y="3966104"/>
                  <a:pt x="10745476" y="3971728"/>
                  <a:pt x="10745476" y="3977366"/>
                </a:cubicBezTo>
                <a:cubicBezTo>
                  <a:pt x="10745476" y="3981158"/>
                  <a:pt x="10745449" y="3984944"/>
                  <a:pt x="10744883" y="3988716"/>
                </a:cubicBezTo>
                <a:lnTo>
                  <a:pt x="10744384" y="3988683"/>
                </a:lnTo>
                <a:lnTo>
                  <a:pt x="10744358" y="3989174"/>
                </a:lnTo>
                <a:lnTo>
                  <a:pt x="10727240" y="3987561"/>
                </a:lnTo>
                <a:cubicBezTo>
                  <a:pt x="10694865" y="3987038"/>
                  <a:pt x="10662985" y="3984080"/>
                  <a:pt x="10631813" y="3978570"/>
                </a:cubicBezTo>
                <a:cubicBezTo>
                  <a:pt x="10626236" y="3978986"/>
                  <a:pt x="10620907" y="3978045"/>
                  <a:pt x="10615596" y="3977042"/>
                </a:cubicBezTo>
                <a:lnTo>
                  <a:pt x="10615480" y="3975903"/>
                </a:lnTo>
                <a:cubicBezTo>
                  <a:pt x="10256629" y="3916971"/>
                  <a:pt x="9975590" y="3638399"/>
                  <a:pt x="9925315" y="3288305"/>
                </a:cubicBezTo>
                <a:cubicBezTo>
                  <a:pt x="9925147" y="3288253"/>
                  <a:pt x="9924979" y="3288248"/>
                  <a:pt x="9924809" y="3288243"/>
                </a:cubicBezTo>
                <a:lnTo>
                  <a:pt x="9924271" y="3281619"/>
                </a:lnTo>
                <a:cubicBezTo>
                  <a:pt x="9919212" y="3251607"/>
                  <a:pt x="9916761" y="3220958"/>
                  <a:pt x="9916804" y="3189869"/>
                </a:cubicBezTo>
                <a:cubicBezTo>
                  <a:pt x="9915492" y="3184286"/>
                  <a:pt x="9915433" y="3178663"/>
                  <a:pt x="9915433" y="3173027"/>
                </a:cubicBezTo>
                <a:lnTo>
                  <a:pt x="9916027" y="3161677"/>
                </a:lnTo>
                <a:lnTo>
                  <a:pt x="9916525" y="3161709"/>
                </a:lnTo>
                <a:close/>
                <a:moveTo>
                  <a:pt x="9902763" y="3161219"/>
                </a:moveTo>
                <a:lnTo>
                  <a:pt x="9902789" y="3161709"/>
                </a:lnTo>
                <a:lnTo>
                  <a:pt x="9903287" y="3161677"/>
                </a:lnTo>
                <a:lnTo>
                  <a:pt x="9903881" y="3173027"/>
                </a:lnTo>
                <a:cubicBezTo>
                  <a:pt x="9903881" y="3178663"/>
                  <a:pt x="9903822" y="3184286"/>
                  <a:pt x="9902510" y="3189869"/>
                </a:cubicBezTo>
                <a:cubicBezTo>
                  <a:pt x="9902553" y="3220958"/>
                  <a:pt x="9900102" y="3251607"/>
                  <a:pt x="9895043" y="3281619"/>
                </a:cubicBezTo>
                <a:lnTo>
                  <a:pt x="9894505" y="3288243"/>
                </a:lnTo>
                <a:cubicBezTo>
                  <a:pt x="9894335" y="3288248"/>
                  <a:pt x="9894167" y="3288253"/>
                  <a:pt x="9893999" y="3288305"/>
                </a:cubicBezTo>
                <a:cubicBezTo>
                  <a:pt x="9843724" y="3638399"/>
                  <a:pt x="9562685" y="3916971"/>
                  <a:pt x="9203834" y="3975903"/>
                </a:cubicBezTo>
                <a:lnTo>
                  <a:pt x="9203718" y="3977042"/>
                </a:lnTo>
                <a:cubicBezTo>
                  <a:pt x="9198407" y="3978045"/>
                  <a:pt x="9193078" y="3978986"/>
                  <a:pt x="9187501" y="3978570"/>
                </a:cubicBezTo>
                <a:cubicBezTo>
                  <a:pt x="9156329" y="3984080"/>
                  <a:pt x="9124449" y="3987038"/>
                  <a:pt x="9092074" y="3987561"/>
                </a:cubicBezTo>
                <a:lnTo>
                  <a:pt x="9074956" y="3989174"/>
                </a:lnTo>
                <a:lnTo>
                  <a:pt x="9074930" y="3988683"/>
                </a:lnTo>
                <a:lnTo>
                  <a:pt x="9074431" y="3988716"/>
                </a:lnTo>
                <a:cubicBezTo>
                  <a:pt x="9073865" y="3984944"/>
                  <a:pt x="9073838" y="3981158"/>
                  <a:pt x="9073838" y="3977366"/>
                </a:cubicBezTo>
                <a:cubicBezTo>
                  <a:pt x="9073838" y="3971728"/>
                  <a:pt x="9073897" y="3966104"/>
                  <a:pt x="9075209" y="3960518"/>
                </a:cubicBezTo>
                <a:cubicBezTo>
                  <a:pt x="9075166" y="3929436"/>
                  <a:pt x="9077616" y="3898794"/>
                  <a:pt x="9082673" y="3868787"/>
                </a:cubicBezTo>
                <a:lnTo>
                  <a:pt x="9083213" y="3862150"/>
                </a:lnTo>
                <a:cubicBezTo>
                  <a:pt x="9083382" y="3862145"/>
                  <a:pt x="9083551" y="3862140"/>
                  <a:pt x="9083718" y="3862087"/>
                </a:cubicBezTo>
                <a:cubicBezTo>
                  <a:pt x="9133995" y="3511992"/>
                  <a:pt x="9415034" y="3233421"/>
                  <a:pt x="9773884" y="3174489"/>
                </a:cubicBezTo>
                <a:lnTo>
                  <a:pt x="9774001" y="3173350"/>
                </a:lnTo>
                <a:cubicBezTo>
                  <a:pt x="9779310" y="3172348"/>
                  <a:pt x="9784638" y="3171407"/>
                  <a:pt x="9790214" y="3171823"/>
                </a:cubicBezTo>
                <a:cubicBezTo>
                  <a:pt x="9821397" y="3166310"/>
                  <a:pt x="9853290" y="3163352"/>
                  <a:pt x="9885676" y="3162829"/>
                </a:cubicBezTo>
                <a:close/>
                <a:moveTo>
                  <a:pt x="8224400" y="3161219"/>
                </a:moveTo>
                <a:lnTo>
                  <a:pt x="8241488" y="3162829"/>
                </a:lnTo>
                <a:cubicBezTo>
                  <a:pt x="8273873" y="3163352"/>
                  <a:pt x="8305766" y="3166310"/>
                  <a:pt x="8336949" y="3171823"/>
                </a:cubicBezTo>
                <a:cubicBezTo>
                  <a:pt x="8342525" y="3171407"/>
                  <a:pt x="8347853" y="3172348"/>
                  <a:pt x="8353162" y="3173350"/>
                </a:cubicBezTo>
                <a:lnTo>
                  <a:pt x="8353279" y="3174489"/>
                </a:lnTo>
                <a:cubicBezTo>
                  <a:pt x="8712129" y="3233421"/>
                  <a:pt x="8993168" y="3511992"/>
                  <a:pt x="9043444" y="3862087"/>
                </a:cubicBezTo>
                <a:cubicBezTo>
                  <a:pt x="9043612" y="3862140"/>
                  <a:pt x="9043781" y="3862145"/>
                  <a:pt x="9043950" y="3862150"/>
                </a:cubicBezTo>
                <a:lnTo>
                  <a:pt x="9044490" y="3868787"/>
                </a:lnTo>
                <a:cubicBezTo>
                  <a:pt x="9049547" y="3898794"/>
                  <a:pt x="9051997" y="3929436"/>
                  <a:pt x="9051954" y="3960518"/>
                </a:cubicBezTo>
                <a:cubicBezTo>
                  <a:pt x="9053266" y="3966104"/>
                  <a:pt x="9053325" y="3971728"/>
                  <a:pt x="9053325" y="3977366"/>
                </a:cubicBezTo>
                <a:cubicBezTo>
                  <a:pt x="9053325" y="3981158"/>
                  <a:pt x="9053298" y="3984944"/>
                  <a:pt x="9052732" y="3988716"/>
                </a:cubicBezTo>
                <a:lnTo>
                  <a:pt x="9052233" y="3988683"/>
                </a:lnTo>
                <a:lnTo>
                  <a:pt x="9052207" y="3989174"/>
                </a:lnTo>
                <a:lnTo>
                  <a:pt x="9035089" y="3987561"/>
                </a:lnTo>
                <a:cubicBezTo>
                  <a:pt x="9002714" y="3987038"/>
                  <a:pt x="8970834" y="3984080"/>
                  <a:pt x="8939662" y="3978570"/>
                </a:cubicBezTo>
                <a:cubicBezTo>
                  <a:pt x="8934085" y="3978986"/>
                  <a:pt x="8928756" y="3978045"/>
                  <a:pt x="8923445" y="3977042"/>
                </a:cubicBezTo>
                <a:lnTo>
                  <a:pt x="8923329" y="3975903"/>
                </a:lnTo>
                <a:cubicBezTo>
                  <a:pt x="8564478" y="3916971"/>
                  <a:pt x="8283439" y="3638399"/>
                  <a:pt x="8233164" y="3288305"/>
                </a:cubicBezTo>
                <a:cubicBezTo>
                  <a:pt x="8232996" y="3288253"/>
                  <a:pt x="8232828" y="3288248"/>
                  <a:pt x="8232658" y="3288243"/>
                </a:cubicBezTo>
                <a:lnTo>
                  <a:pt x="8232120" y="3281619"/>
                </a:lnTo>
                <a:cubicBezTo>
                  <a:pt x="8227061" y="3251607"/>
                  <a:pt x="8224611" y="3220958"/>
                  <a:pt x="8224653" y="3189869"/>
                </a:cubicBezTo>
                <a:cubicBezTo>
                  <a:pt x="8223341" y="3184286"/>
                  <a:pt x="8223282" y="3178663"/>
                  <a:pt x="8223282" y="3173027"/>
                </a:cubicBezTo>
                <a:lnTo>
                  <a:pt x="8223876" y="3161677"/>
                </a:lnTo>
                <a:lnTo>
                  <a:pt x="8224374" y="3161709"/>
                </a:lnTo>
                <a:close/>
                <a:moveTo>
                  <a:pt x="8210612" y="3161219"/>
                </a:moveTo>
                <a:lnTo>
                  <a:pt x="8210638" y="3161709"/>
                </a:lnTo>
                <a:lnTo>
                  <a:pt x="8211136" y="3161677"/>
                </a:lnTo>
                <a:lnTo>
                  <a:pt x="8211730" y="3173027"/>
                </a:lnTo>
                <a:cubicBezTo>
                  <a:pt x="8211730" y="3178663"/>
                  <a:pt x="8211672" y="3184286"/>
                  <a:pt x="8210360" y="3189869"/>
                </a:cubicBezTo>
                <a:cubicBezTo>
                  <a:pt x="8210402" y="3220958"/>
                  <a:pt x="8207951" y="3251607"/>
                  <a:pt x="8202893" y="3281619"/>
                </a:cubicBezTo>
                <a:lnTo>
                  <a:pt x="8202354" y="3288243"/>
                </a:lnTo>
                <a:cubicBezTo>
                  <a:pt x="8202185" y="3288248"/>
                  <a:pt x="8202016" y="3288253"/>
                  <a:pt x="8201849" y="3288305"/>
                </a:cubicBezTo>
                <a:cubicBezTo>
                  <a:pt x="8151573" y="3638399"/>
                  <a:pt x="7870534" y="3916971"/>
                  <a:pt x="7511683" y="3975903"/>
                </a:cubicBezTo>
                <a:lnTo>
                  <a:pt x="7511567" y="3977042"/>
                </a:lnTo>
                <a:cubicBezTo>
                  <a:pt x="7506256" y="3978045"/>
                  <a:pt x="7500927" y="3978986"/>
                  <a:pt x="7495350" y="3978570"/>
                </a:cubicBezTo>
                <a:cubicBezTo>
                  <a:pt x="7464178" y="3984080"/>
                  <a:pt x="7432298" y="3987038"/>
                  <a:pt x="7399924" y="3987561"/>
                </a:cubicBezTo>
                <a:lnTo>
                  <a:pt x="7382805" y="3989174"/>
                </a:lnTo>
                <a:lnTo>
                  <a:pt x="7382779" y="3988683"/>
                </a:lnTo>
                <a:lnTo>
                  <a:pt x="7382280" y="3988716"/>
                </a:lnTo>
                <a:cubicBezTo>
                  <a:pt x="7381714" y="3984944"/>
                  <a:pt x="7381687" y="3981158"/>
                  <a:pt x="7381687" y="3977366"/>
                </a:cubicBezTo>
                <a:cubicBezTo>
                  <a:pt x="7381687" y="3971728"/>
                  <a:pt x="7381746" y="3966104"/>
                  <a:pt x="7383058" y="3960518"/>
                </a:cubicBezTo>
                <a:cubicBezTo>
                  <a:pt x="7383016" y="3929436"/>
                  <a:pt x="7385465" y="3898794"/>
                  <a:pt x="7390522" y="3868787"/>
                </a:cubicBezTo>
                <a:lnTo>
                  <a:pt x="7391062" y="3862150"/>
                </a:lnTo>
                <a:cubicBezTo>
                  <a:pt x="7391231" y="3862145"/>
                  <a:pt x="7391400" y="3862140"/>
                  <a:pt x="7391568" y="3862087"/>
                </a:cubicBezTo>
                <a:cubicBezTo>
                  <a:pt x="7441844" y="3511992"/>
                  <a:pt x="7722883" y="3233421"/>
                  <a:pt x="8081734" y="3174489"/>
                </a:cubicBezTo>
                <a:lnTo>
                  <a:pt x="8081851" y="3173350"/>
                </a:lnTo>
                <a:cubicBezTo>
                  <a:pt x="8087159" y="3172348"/>
                  <a:pt x="8092487" y="3171407"/>
                  <a:pt x="8098063" y="3171823"/>
                </a:cubicBezTo>
                <a:cubicBezTo>
                  <a:pt x="8129247" y="3166310"/>
                  <a:pt x="8161139" y="3163352"/>
                  <a:pt x="8193525" y="3162829"/>
                </a:cubicBezTo>
                <a:close/>
                <a:moveTo>
                  <a:pt x="6532249" y="3161219"/>
                </a:moveTo>
                <a:lnTo>
                  <a:pt x="6549337" y="3162829"/>
                </a:lnTo>
                <a:cubicBezTo>
                  <a:pt x="6581722" y="3163352"/>
                  <a:pt x="6613615" y="3166310"/>
                  <a:pt x="6644798" y="3171823"/>
                </a:cubicBezTo>
                <a:cubicBezTo>
                  <a:pt x="6650374" y="3171407"/>
                  <a:pt x="6655702" y="3172348"/>
                  <a:pt x="6661011" y="3173350"/>
                </a:cubicBezTo>
                <a:lnTo>
                  <a:pt x="6661128" y="3174489"/>
                </a:lnTo>
                <a:cubicBezTo>
                  <a:pt x="7019978" y="3233421"/>
                  <a:pt x="7301017" y="3511992"/>
                  <a:pt x="7351294" y="3862087"/>
                </a:cubicBezTo>
                <a:cubicBezTo>
                  <a:pt x="7351461" y="3862140"/>
                  <a:pt x="7351631" y="3862145"/>
                  <a:pt x="7351799" y="3862150"/>
                </a:cubicBezTo>
                <a:lnTo>
                  <a:pt x="7352340" y="3868787"/>
                </a:lnTo>
                <a:cubicBezTo>
                  <a:pt x="7357396" y="3898794"/>
                  <a:pt x="7359846" y="3929436"/>
                  <a:pt x="7359804" y="3960518"/>
                </a:cubicBezTo>
                <a:cubicBezTo>
                  <a:pt x="7361116" y="3966104"/>
                  <a:pt x="7361174" y="3971728"/>
                  <a:pt x="7361174" y="3977366"/>
                </a:cubicBezTo>
                <a:cubicBezTo>
                  <a:pt x="7361174" y="3981158"/>
                  <a:pt x="7361147" y="3984944"/>
                  <a:pt x="7360581" y="3988716"/>
                </a:cubicBezTo>
                <a:lnTo>
                  <a:pt x="7360082" y="3988683"/>
                </a:lnTo>
                <a:lnTo>
                  <a:pt x="7360056" y="3989174"/>
                </a:lnTo>
                <a:lnTo>
                  <a:pt x="7342938" y="3987561"/>
                </a:lnTo>
                <a:cubicBezTo>
                  <a:pt x="7310564" y="3987038"/>
                  <a:pt x="7278683" y="3984080"/>
                  <a:pt x="7247511" y="3978570"/>
                </a:cubicBezTo>
                <a:cubicBezTo>
                  <a:pt x="7241934" y="3978986"/>
                  <a:pt x="7236605" y="3978045"/>
                  <a:pt x="7231295" y="3977042"/>
                </a:cubicBezTo>
                <a:lnTo>
                  <a:pt x="7231179" y="3975903"/>
                </a:lnTo>
                <a:cubicBezTo>
                  <a:pt x="6872327" y="3916971"/>
                  <a:pt x="6591288" y="3638399"/>
                  <a:pt x="6541013" y="3288305"/>
                </a:cubicBezTo>
                <a:cubicBezTo>
                  <a:pt x="6540845" y="3288253"/>
                  <a:pt x="6540677" y="3288248"/>
                  <a:pt x="6540507" y="3288243"/>
                </a:cubicBezTo>
                <a:lnTo>
                  <a:pt x="6539969" y="3281619"/>
                </a:lnTo>
                <a:cubicBezTo>
                  <a:pt x="6534910" y="3251607"/>
                  <a:pt x="6532460" y="3220958"/>
                  <a:pt x="6532502" y="3189869"/>
                </a:cubicBezTo>
                <a:cubicBezTo>
                  <a:pt x="6531190" y="3184286"/>
                  <a:pt x="6531131" y="3178663"/>
                  <a:pt x="6531131" y="3173027"/>
                </a:cubicBezTo>
                <a:lnTo>
                  <a:pt x="6531725" y="3161677"/>
                </a:lnTo>
                <a:lnTo>
                  <a:pt x="6532223" y="3161709"/>
                </a:lnTo>
                <a:close/>
                <a:moveTo>
                  <a:pt x="6518461" y="3161219"/>
                </a:moveTo>
                <a:lnTo>
                  <a:pt x="6518487" y="3161709"/>
                </a:lnTo>
                <a:lnTo>
                  <a:pt x="6518985" y="3161677"/>
                </a:lnTo>
                <a:lnTo>
                  <a:pt x="6519579" y="3173027"/>
                </a:lnTo>
                <a:cubicBezTo>
                  <a:pt x="6519579" y="3178663"/>
                  <a:pt x="6519520" y="3184286"/>
                  <a:pt x="6518208" y="3189869"/>
                </a:cubicBezTo>
                <a:cubicBezTo>
                  <a:pt x="6518250" y="3220958"/>
                  <a:pt x="6515800" y="3251607"/>
                  <a:pt x="6510741" y="3281619"/>
                </a:cubicBezTo>
                <a:lnTo>
                  <a:pt x="6510203" y="3288243"/>
                </a:lnTo>
                <a:cubicBezTo>
                  <a:pt x="6510033" y="3288248"/>
                  <a:pt x="6509865" y="3288253"/>
                  <a:pt x="6509697" y="3288305"/>
                </a:cubicBezTo>
                <a:cubicBezTo>
                  <a:pt x="6459422" y="3638399"/>
                  <a:pt x="6178383" y="3916971"/>
                  <a:pt x="5819531" y="3975903"/>
                </a:cubicBezTo>
                <a:lnTo>
                  <a:pt x="5819415" y="3977042"/>
                </a:lnTo>
                <a:cubicBezTo>
                  <a:pt x="5814105" y="3978045"/>
                  <a:pt x="5808776" y="3978986"/>
                  <a:pt x="5803199" y="3978570"/>
                </a:cubicBezTo>
                <a:cubicBezTo>
                  <a:pt x="5772027" y="3984080"/>
                  <a:pt x="5740146" y="3987038"/>
                  <a:pt x="5707772" y="3987561"/>
                </a:cubicBezTo>
                <a:lnTo>
                  <a:pt x="5690654" y="3989174"/>
                </a:lnTo>
                <a:lnTo>
                  <a:pt x="5690628" y="3988683"/>
                </a:lnTo>
                <a:lnTo>
                  <a:pt x="5690129" y="3988716"/>
                </a:lnTo>
                <a:cubicBezTo>
                  <a:pt x="5689563" y="3984944"/>
                  <a:pt x="5689536" y="3981158"/>
                  <a:pt x="5689536" y="3977366"/>
                </a:cubicBezTo>
                <a:cubicBezTo>
                  <a:pt x="5689536" y="3971728"/>
                  <a:pt x="5689594" y="3966104"/>
                  <a:pt x="5690906" y="3960518"/>
                </a:cubicBezTo>
                <a:cubicBezTo>
                  <a:pt x="5690864" y="3929436"/>
                  <a:pt x="5693314" y="3898794"/>
                  <a:pt x="5698370" y="3868787"/>
                </a:cubicBezTo>
                <a:lnTo>
                  <a:pt x="5698911" y="3862150"/>
                </a:lnTo>
                <a:cubicBezTo>
                  <a:pt x="5699079" y="3862145"/>
                  <a:pt x="5699249" y="3862140"/>
                  <a:pt x="5699416" y="3862087"/>
                </a:cubicBezTo>
                <a:cubicBezTo>
                  <a:pt x="5749693" y="3511992"/>
                  <a:pt x="6030732" y="3233421"/>
                  <a:pt x="6389582" y="3174489"/>
                </a:cubicBezTo>
                <a:lnTo>
                  <a:pt x="6389699" y="3173350"/>
                </a:lnTo>
                <a:cubicBezTo>
                  <a:pt x="6395008" y="3172348"/>
                  <a:pt x="6400336" y="3171407"/>
                  <a:pt x="6405912" y="3171823"/>
                </a:cubicBezTo>
                <a:cubicBezTo>
                  <a:pt x="6437095" y="3166310"/>
                  <a:pt x="6468988" y="3163352"/>
                  <a:pt x="6501373" y="3162829"/>
                </a:cubicBezTo>
                <a:close/>
                <a:moveTo>
                  <a:pt x="4840098" y="3161219"/>
                </a:moveTo>
                <a:lnTo>
                  <a:pt x="4857185" y="3162829"/>
                </a:lnTo>
                <a:cubicBezTo>
                  <a:pt x="4889571" y="3163352"/>
                  <a:pt x="4921463" y="3166310"/>
                  <a:pt x="4952647" y="3171823"/>
                </a:cubicBezTo>
                <a:cubicBezTo>
                  <a:pt x="4958223" y="3171407"/>
                  <a:pt x="4963551" y="3172348"/>
                  <a:pt x="4968859" y="3173350"/>
                </a:cubicBezTo>
                <a:lnTo>
                  <a:pt x="4968976" y="3174489"/>
                </a:lnTo>
                <a:cubicBezTo>
                  <a:pt x="5327827" y="3233421"/>
                  <a:pt x="5608866" y="3511992"/>
                  <a:pt x="5659142" y="3862087"/>
                </a:cubicBezTo>
                <a:cubicBezTo>
                  <a:pt x="5659310" y="3862140"/>
                  <a:pt x="5659479" y="3862145"/>
                  <a:pt x="5659648" y="3862150"/>
                </a:cubicBezTo>
                <a:lnTo>
                  <a:pt x="5660188" y="3868787"/>
                </a:lnTo>
                <a:cubicBezTo>
                  <a:pt x="5665245" y="3898794"/>
                  <a:pt x="5667694" y="3929436"/>
                  <a:pt x="5667652" y="3960518"/>
                </a:cubicBezTo>
                <a:cubicBezTo>
                  <a:pt x="5668964" y="3966104"/>
                  <a:pt x="5669023" y="3971728"/>
                  <a:pt x="5669023" y="3977366"/>
                </a:cubicBezTo>
                <a:cubicBezTo>
                  <a:pt x="5669023" y="3981158"/>
                  <a:pt x="5668996" y="3984944"/>
                  <a:pt x="5668430" y="3988716"/>
                </a:cubicBezTo>
                <a:lnTo>
                  <a:pt x="5667931" y="3988683"/>
                </a:lnTo>
                <a:lnTo>
                  <a:pt x="5667905" y="3989174"/>
                </a:lnTo>
                <a:lnTo>
                  <a:pt x="5650786" y="3987561"/>
                </a:lnTo>
                <a:cubicBezTo>
                  <a:pt x="5618412" y="3987038"/>
                  <a:pt x="5586532" y="3984080"/>
                  <a:pt x="5555360" y="3978570"/>
                </a:cubicBezTo>
                <a:cubicBezTo>
                  <a:pt x="5549783" y="3978986"/>
                  <a:pt x="5544454" y="3978045"/>
                  <a:pt x="5539143" y="3977042"/>
                </a:cubicBezTo>
                <a:lnTo>
                  <a:pt x="5539027" y="3975903"/>
                </a:lnTo>
                <a:cubicBezTo>
                  <a:pt x="5180176" y="3916971"/>
                  <a:pt x="4899137" y="3638399"/>
                  <a:pt x="4848861" y="3288305"/>
                </a:cubicBezTo>
                <a:cubicBezTo>
                  <a:pt x="4848694" y="3288253"/>
                  <a:pt x="4848525" y="3288248"/>
                  <a:pt x="4848356" y="3288243"/>
                </a:cubicBezTo>
                <a:lnTo>
                  <a:pt x="4847817" y="3281619"/>
                </a:lnTo>
                <a:cubicBezTo>
                  <a:pt x="4842759" y="3251607"/>
                  <a:pt x="4840308" y="3220958"/>
                  <a:pt x="4840350" y="3189869"/>
                </a:cubicBezTo>
                <a:cubicBezTo>
                  <a:pt x="4839038" y="3184286"/>
                  <a:pt x="4838980" y="3178663"/>
                  <a:pt x="4838980" y="3173027"/>
                </a:cubicBezTo>
                <a:lnTo>
                  <a:pt x="4839574" y="3161677"/>
                </a:lnTo>
                <a:lnTo>
                  <a:pt x="4840072" y="3161709"/>
                </a:lnTo>
                <a:close/>
                <a:moveTo>
                  <a:pt x="4826310" y="3161219"/>
                </a:moveTo>
                <a:lnTo>
                  <a:pt x="4826336" y="3161709"/>
                </a:lnTo>
                <a:lnTo>
                  <a:pt x="4826834" y="3161677"/>
                </a:lnTo>
                <a:lnTo>
                  <a:pt x="4827428" y="3173027"/>
                </a:lnTo>
                <a:cubicBezTo>
                  <a:pt x="4827428" y="3178663"/>
                  <a:pt x="4827369" y="3184286"/>
                  <a:pt x="4826057" y="3189869"/>
                </a:cubicBezTo>
                <a:cubicBezTo>
                  <a:pt x="4826099" y="3220958"/>
                  <a:pt x="4823649" y="3251607"/>
                  <a:pt x="4818590" y="3281619"/>
                </a:cubicBezTo>
                <a:lnTo>
                  <a:pt x="4818052" y="3288243"/>
                </a:lnTo>
                <a:cubicBezTo>
                  <a:pt x="4817882" y="3288248"/>
                  <a:pt x="4817714" y="3288253"/>
                  <a:pt x="4817546" y="3288305"/>
                </a:cubicBezTo>
                <a:cubicBezTo>
                  <a:pt x="4767271" y="3638399"/>
                  <a:pt x="4486232" y="3916971"/>
                  <a:pt x="4127381" y="3975903"/>
                </a:cubicBezTo>
                <a:lnTo>
                  <a:pt x="4127264" y="3977042"/>
                </a:lnTo>
                <a:cubicBezTo>
                  <a:pt x="4121954" y="3978045"/>
                  <a:pt x="4116625" y="3978986"/>
                  <a:pt x="4111048" y="3978570"/>
                </a:cubicBezTo>
                <a:cubicBezTo>
                  <a:pt x="4079876" y="3984080"/>
                  <a:pt x="4047996" y="3987038"/>
                  <a:pt x="4015621" y="3987561"/>
                </a:cubicBezTo>
                <a:lnTo>
                  <a:pt x="3998503" y="3989174"/>
                </a:lnTo>
                <a:lnTo>
                  <a:pt x="3998477" y="3988683"/>
                </a:lnTo>
                <a:lnTo>
                  <a:pt x="3997978" y="3988716"/>
                </a:lnTo>
                <a:cubicBezTo>
                  <a:pt x="3997412" y="3984944"/>
                  <a:pt x="3997385" y="3981158"/>
                  <a:pt x="3997385" y="3977366"/>
                </a:cubicBezTo>
                <a:cubicBezTo>
                  <a:pt x="3997385" y="3971728"/>
                  <a:pt x="3997443" y="3966104"/>
                  <a:pt x="3998755" y="3960518"/>
                </a:cubicBezTo>
                <a:cubicBezTo>
                  <a:pt x="3998713" y="3929436"/>
                  <a:pt x="4001163" y="3898794"/>
                  <a:pt x="4006219" y="3868787"/>
                </a:cubicBezTo>
                <a:lnTo>
                  <a:pt x="4006760" y="3862150"/>
                </a:lnTo>
                <a:cubicBezTo>
                  <a:pt x="4006928" y="3862145"/>
                  <a:pt x="4007098" y="3862140"/>
                  <a:pt x="4007265" y="3862087"/>
                </a:cubicBezTo>
                <a:cubicBezTo>
                  <a:pt x="4057542" y="3511992"/>
                  <a:pt x="4338581" y="3233421"/>
                  <a:pt x="4697431" y="3174489"/>
                </a:cubicBezTo>
                <a:lnTo>
                  <a:pt x="4697548" y="3173350"/>
                </a:lnTo>
                <a:cubicBezTo>
                  <a:pt x="4702857" y="3172348"/>
                  <a:pt x="4708185" y="3171407"/>
                  <a:pt x="4713761" y="3171823"/>
                </a:cubicBezTo>
                <a:cubicBezTo>
                  <a:pt x="4744944" y="3166310"/>
                  <a:pt x="4776837" y="3163352"/>
                  <a:pt x="4809222" y="3162829"/>
                </a:cubicBezTo>
                <a:close/>
                <a:moveTo>
                  <a:pt x="3147947" y="3161219"/>
                </a:moveTo>
                <a:lnTo>
                  <a:pt x="3165034" y="3162829"/>
                </a:lnTo>
                <a:cubicBezTo>
                  <a:pt x="3197420" y="3163352"/>
                  <a:pt x="3229312" y="3166310"/>
                  <a:pt x="3260496" y="3171823"/>
                </a:cubicBezTo>
                <a:cubicBezTo>
                  <a:pt x="3266072" y="3171407"/>
                  <a:pt x="3271400" y="3172348"/>
                  <a:pt x="3276708" y="3173350"/>
                </a:cubicBezTo>
                <a:lnTo>
                  <a:pt x="3276826" y="3174489"/>
                </a:lnTo>
                <a:cubicBezTo>
                  <a:pt x="3635676" y="3233421"/>
                  <a:pt x="3916715" y="3511992"/>
                  <a:pt x="3966991" y="3862087"/>
                </a:cubicBezTo>
                <a:cubicBezTo>
                  <a:pt x="3967159" y="3862140"/>
                  <a:pt x="3967328" y="3862145"/>
                  <a:pt x="3967497" y="3862150"/>
                </a:cubicBezTo>
                <a:lnTo>
                  <a:pt x="3968037" y="3868787"/>
                </a:lnTo>
                <a:cubicBezTo>
                  <a:pt x="3973094" y="3898794"/>
                  <a:pt x="3975543" y="3929436"/>
                  <a:pt x="3975501" y="3960518"/>
                </a:cubicBezTo>
                <a:cubicBezTo>
                  <a:pt x="3976813" y="3966104"/>
                  <a:pt x="3976872" y="3971728"/>
                  <a:pt x="3976872" y="3977366"/>
                </a:cubicBezTo>
                <a:cubicBezTo>
                  <a:pt x="3976872" y="3981158"/>
                  <a:pt x="3976845" y="3984944"/>
                  <a:pt x="3976279" y="3988716"/>
                </a:cubicBezTo>
                <a:lnTo>
                  <a:pt x="3975780" y="3988683"/>
                </a:lnTo>
                <a:lnTo>
                  <a:pt x="3975754" y="3989174"/>
                </a:lnTo>
                <a:lnTo>
                  <a:pt x="3958635" y="3987561"/>
                </a:lnTo>
                <a:cubicBezTo>
                  <a:pt x="3926261" y="3987038"/>
                  <a:pt x="3894381" y="3984080"/>
                  <a:pt x="3863209" y="3978570"/>
                </a:cubicBezTo>
                <a:cubicBezTo>
                  <a:pt x="3857632" y="3978986"/>
                  <a:pt x="3852303" y="3978045"/>
                  <a:pt x="3846992" y="3977042"/>
                </a:cubicBezTo>
                <a:lnTo>
                  <a:pt x="3846876" y="3975903"/>
                </a:lnTo>
                <a:cubicBezTo>
                  <a:pt x="3488025" y="3916971"/>
                  <a:pt x="3206986" y="3638399"/>
                  <a:pt x="3156710" y="3288305"/>
                </a:cubicBezTo>
                <a:cubicBezTo>
                  <a:pt x="3156543" y="3288253"/>
                  <a:pt x="3156374" y="3288248"/>
                  <a:pt x="3156205" y="3288243"/>
                </a:cubicBezTo>
                <a:lnTo>
                  <a:pt x="3155667" y="3281619"/>
                </a:lnTo>
                <a:cubicBezTo>
                  <a:pt x="3150608" y="3251607"/>
                  <a:pt x="3148157" y="3220958"/>
                  <a:pt x="3148199" y="3189869"/>
                </a:cubicBezTo>
                <a:cubicBezTo>
                  <a:pt x="3146887" y="3184286"/>
                  <a:pt x="3146829" y="3178663"/>
                  <a:pt x="3146829" y="3173027"/>
                </a:cubicBezTo>
                <a:lnTo>
                  <a:pt x="3147423" y="3161677"/>
                </a:lnTo>
                <a:lnTo>
                  <a:pt x="3147921" y="3161709"/>
                </a:lnTo>
                <a:close/>
                <a:moveTo>
                  <a:pt x="3134159" y="3161219"/>
                </a:moveTo>
                <a:lnTo>
                  <a:pt x="3134185" y="3161709"/>
                </a:lnTo>
                <a:lnTo>
                  <a:pt x="3134683" y="3161677"/>
                </a:lnTo>
                <a:lnTo>
                  <a:pt x="3135277" y="3173027"/>
                </a:lnTo>
                <a:cubicBezTo>
                  <a:pt x="3135277" y="3178663"/>
                  <a:pt x="3135218" y="3184286"/>
                  <a:pt x="3133906" y="3189869"/>
                </a:cubicBezTo>
                <a:cubicBezTo>
                  <a:pt x="3133948" y="3220958"/>
                  <a:pt x="3131498" y="3251607"/>
                  <a:pt x="3126439" y="3281619"/>
                </a:cubicBezTo>
                <a:lnTo>
                  <a:pt x="3125901" y="3288243"/>
                </a:lnTo>
                <a:cubicBezTo>
                  <a:pt x="3125731" y="3288248"/>
                  <a:pt x="3125563" y="3288253"/>
                  <a:pt x="3125395" y="3288305"/>
                </a:cubicBezTo>
                <a:cubicBezTo>
                  <a:pt x="3075120" y="3638399"/>
                  <a:pt x="2794081" y="3916971"/>
                  <a:pt x="2435230" y="3975903"/>
                </a:cubicBezTo>
                <a:lnTo>
                  <a:pt x="2435113" y="3977042"/>
                </a:lnTo>
                <a:cubicBezTo>
                  <a:pt x="2429803" y="3978045"/>
                  <a:pt x="2424474" y="3978986"/>
                  <a:pt x="2418897" y="3978570"/>
                </a:cubicBezTo>
                <a:cubicBezTo>
                  <a:pt x="2387725" y="3984080"/>
                  <a:pt x="2355845" y="3987038"/>
                  <a:pt x="2323470" y="3987561"/>
                </a:cubicBezTo>
                <a:lnTo>
                  <a:pt x="2306352" y="3989174"/>
                </a:lnTo>
                <a:lnTo>
                  <a:pt x="2306326" y="3988683"/>
                </a:lnTo>
                <a:lnTo>
                  <a:pt x="2305827" y="3988716"/>
                </a:lnTo>
                <a:cubicBezTo>
                  <a:pt x="2305261" y="3984944"/>
                  <a:pt x="2305234" y="3981158"/>
                  <a:pt x="2305234" y="3977366"/>
                </a:cubicBezTo>
                <a:cubicBezTo>
                  <a:pt x="2305234" y="3971728"/>
                  <a:pt x="2305292" y="3966104"/>
                  <a:pt x="2306604" y="3960518"/>
                </a:cubicBezTo>
                <a:cubicBezTo>
                  <a:pt x="2306562" y="3929436"/>
                  <a:pt x="2309012" y="3898794"/>
                  <a:pt x="2314068" y="3868787"/>
                </a:cubicBezTo>
                <a:lnTo>
                  <a:pt x="2314609" y="3862150"/>
                </a:lnTo>
                <a:cubicBezTo>
                  <a:pt x="2314777" y="3862145"/>
                  <a:pt x="2314947" y="3862140"/>
                  <a:pt x="2315114" y="3862087"/>
                </a:cubicBezTo>
                <a:cubicBezTo>
                  <a:pt x="2365391" y="3511992"/>
                  <a:pt x="2646430" y="3233421"/>
                  <a:pt x="3005280" y="3174489"/>
                </a:cubicBezTo>
                <a:lnTo>
                  <a:pt x="3005397" y="3173350"/>
                </a:lnTo>
                <a:cubicBezTo>
                  <a:pt x="3010706" y="3172348"/>
                  <a:pt x="3016034" y="3171407"/>
                  <a:pt x="3021610" y="3171823"/>
                </a:cubicBezTo>
                <a:cubicBezTo>
                  <a:pt x="3052793" y="3166310"/>
                  <a:pt x="3084686" y="3163352"/>
                  <a:pt x="3117071" y="3162829"/>
                </a:cubicBezTo>
                <a:close/>
                <a:moveTo>
                  <a:pt x="1455796" y="3161219"/>
                </a:moveTo>
                <a:lnTo>
                  <a:pt x="1472883" y="3162829"/>
                </a:lnTo>
                <a:cubicBezTo>
                  <a:pt x="1505269" y="3163352"/>
                  <a:pt x="1537161" y="3166310"/>
                  <a:pt x="1568345" y="3171823"/>
                </a:cubicBezTo>
                <a:cubicBezTo>
                  <a:pt x="1573921" y="3171407"/>
                  <a:pt x="1579249" y="3172348"/>
                  <a:pt x="1584557" y="3173350"/>
                </a:cubicBezTo>
                <a:lnTo>
                  <a:pt x="1584675" y="3174489"/>
                </a:lnTo>
                <a:cubicBezTo>
                  <a:pt x="1943525" y="3233421"/>
                  <a:pt x="2224564" y="3511992"/>
                  <a:pt x="2274840" y="3862087"/>
                </a:cubicBezTo>
                <a:cubicBezTo>
                  <a:pt x="2275008" y="3862140"/>
                  <a:pt x="2275177" y="3862145"/>
                  <a:pt x="2275346" y="3862150"/>
                </a:cubicBezTo>
                <a:lnTo>
                  <a:pt x="2275886" y="3868787"/>
                </a:lnTo>
                <a:cubicBezTo>
                  <a:pt x="2280943" y="3898794"/>
                  <a:pt x="2283392" y="3929436"/>
                  <a:pt x="2283350" y="3960518"/>
                </a:cubicBezTo>
                <a:cubicBezTo>
                  <a:pt x="2284662" y="3966104"/>
                  <a:pt x="2284721" y="3971728"/>
                  <a:pt x="2284721" y="3977366"/>
                </a:cubicBezTo>
                <a:cubicBezTo>
                  <a:pt x="2284721" y="3981158"/>
                  <a:pt x="2284694" y="3984944"/>
                  <a:pt x="2284128" y="3988716"/>
                </a:cubicBezTo>
                <a:lnTo>
                  <a:pt x="2283629" y="3988683"/>
                </a:lnTo>
                <a:lnTo>
                  <a:pt x="2283603" y="3989174"/>
                </a:lnTo>
                <a:lnTo>
                  <a:pt x="2266484" y="3987561"/>
                </a:lnTo>
                <a:cubicBezTo>
                  <a:pt x="2234110" y="3987038"/>
                  <a:pt x="2202230" y="3984080"/>
                  <a:pt x="2171058" y="3978570"/>
                </a:cubicBezTo>
                <a:cubicBezTo>
                  <a:pt x="2165481" y="3978986"/>
                  <a:pt x="2160152" y="3978045"/>
                  <a:pt x="2154841" y="3977042"/>
                </a:cubicBezTo>
                <a:lnTo>
                  <a:pt x="2154725" y="3975903"/>
                </a:lnTo>
                <a:cubicBezTo>
                  <a:pt x="1795874" y="3916971"/>
                  <a:pt x="1514835" y="3638399"/>
                  <a:pt x="1464559" y="3288305"/>
                </a:cubicBezTo>
                <a:cubicBezTo>
                  <a:pt x="1464392" y="3288253"/>
                  <a:pt x="1464223" y="3288248"/>
                  <a:pt x="1464054" y="3288243"/>
                </a:cubicBezTo>
                <a:lnTo>
                  <a:pt x="1463515" y="3281619"/>
                </a:lnTo>
                <a:cubicBezTo>
                  <a:pt x="1458457" y="3251607"/>
                  <a:pt x="1456006" y="3220958"/>
                  <a:pt x="1456048" y="3189869"/>
                </a:cubicBezTo>
                <a:cubicBezTo>
                  <a:pt x="1454736" y="3184286"/>
                  <a:pt x="1454678" y="3178663"/>
                  <a:pt x="1454678" y="3173027"/>
                </a:cubicBezTo>
                <a:lnTo>
                  <a:pt x="1455272" y="3161677"/>
                </a:lnTo>
                <a:lnTo>
                  <a:pt x="1455770" y="3161709"/>
                </a:lnTo>
                <a:close/>
                <a:moveTo>
                  <a:pt x="1442008" y="3161219"/>
                </a:moveTo>
                <a:lnTo>
                  <a:pt x="1442034" y="3161709"/>
                </a:lnTo>
                <a:lnTo>
                  <a:pt x="1442532" y="3161677"/>
                </a:lnTo>
                <a:lnTo>
                  <a:pt x="1443126" y="3173027"/>
                </a:lnTo>
                <a:cubicBezTo>
                  <a:pt x="1443126" y="3178663"/>
                  <a:pt x="1443067" y="3184286"/>
                  <a:pt x="1441755" y="3189869"/>
                </a:cubicBezTo>
                <a:cubicBezTo>
                  <a:pt x="1441797" y="3220958"/>
                  <a:pt x="1439347" y="3251607"/>
                  <a:pt x="1434288" y="3281619"/>
                </a:cubicBezTo>
                <a:lnTo>
                  <a:pt x="1433750" y="3288243"/>
                </a:lnTo>
                <a:cubicBezTo>
                  <a:pt x="1433580" y="3288248"/>
                  <a:pt x="1433412" y="3288253"/>
                  <a:pt x="1433244" y="3288305"/>
                </a:cubicBezTo>
                <a:cubicBezTo>
                  <a:pt x="1382969" y="3638399"/>
                  <a:pt x="1101930" y="3916971"/>
                  <a:pt x="743079" y="3975903"/>
                </a:cubicBezTo>
                <a:lnTo>
                  <a:pt x="742962" y="3977042"/>
                </a:lnTo>
                <a:cubicBezTo>
                  <a:pt x="737652" y="3978045"/>
                  <a:pt x="732323" y="3978986"/>
                  <a:pt x="726746" y="3978570"/>
                </a:cubicBezTo>
                <a:cubicBezTo>
                  <a:pt x="695574" y="3984080"/>
                  <a:pt x="663693" y="3987038"/>
                  <a:pt x="631319" y="3987561"/>
                </a:cubicBezTo>
                <a:lnTo>
                  <a:pt x="614201" y="3989174"/>
                </a:lnTo>
                <a:lnTo>
                  <a:pt x="614175" y="3988683"/>
                </a:lnTo>
                <a:lnTo>
                  <a:pt x="613676" y="3988716"/>
                </a:lnTo>
                <a:cubicBezTo>
                  <a:pt x="613110" y="3984944"/>
                  <a:pt x="613083" y="3981158"/>
                  <a:pt x="613083" y="3977366"/>
                </a:cubicBezTo>
                <a:cubicBezTo>
                  <a:pt x="613083" y="3971728"/>
                  <a:pt x="613141" y="3966104"/>
                  <a:pt x="614453" y="3960518"/>
                </a:cubicBezTo>
                <a:cubicBezTo>
                  <a:pt x="614411" y="3929436"/>
                  <a:pt x="616861" y="3898794"/>
                  <a:pt x="621917" y="3868787"/>
                </a:cubicBezTo>
                <a:lnTo>
                  <a:pt x="622458" y="3862150"/>
                </a:lnTo>
                <a:cubicBezTo>
                  <a:pt x="622626" y="3862145"/>
                  <a:pt x="622796" y="3862140"/>
                  <a:pt x="622963" y="3862087"/>
                </a:cubicBezTo>
                <a:cubicBezTo>
                  <a:pt x="673240" y="3511992"/>
                  <a:pt x="954279" y="3233421"/>
                  <a:pt x="1313129" y="3174489"/>
                </a:cubicBezTo>
                <a:lnTo>
                  <a:pt x="1313246" y="3173350"/>
                </a:lnTo>
                <a:cubicBezTo>
                  <a:pt x="1318555" y="3172348"/>
                  <a:pt x="1323883" y="3171407"/>
                  <a:pt x="1329459" y="3171823"/>
                </a:cubicBezTo>
                <a:cubicBezTo>
                  <a:pt x="1360642" y="3166310"/>
                  <a:pt x="1392535" y="3163352"/>
                  <a:pt x="1424920" y="3162829"/>
                </a:cubicBezTo>
                <a:close/>
                <a:moveTo>
                  <a:pt x="10909360" y="2447425"/>
                </a:moveTo>
                <a:cubicBezTo>
                  <a:pt x="10962636" y="2718331"/>
                  <a:pt x="11177479" y="2933128"/>
                  <a:pt x="11452669" y="2992271"/>
                </a:cubicBezTo>
                <a:cubicBezTo>
                  <a:pt x="11399394" y="2721365"/>
                  <a:pt x="11184550" y="2506568"/>
                  <a:pt x="10909360" y="2447425"/>
                </a:cubicBezTo>
                <a:close/>
                <a:moveTo>
                  <a:pt x="10602109" y="2447425"/>
                </a:moveTo>
                <a:cubicBezTo>
                  <a:pt x="10326919" y="2506568"/>
                  <a:pt x="10112075" y="2721365"/>
                  <a:pt x="10058800" y="2992271"/>
                </a:cubicBezTo>
                <a:cubicBezTo>
                  <a:pt x="10333990" y="2933128"/>
                  <a:pt x="10548833" y="2718331"/>
                  <a:pt x="10602109" y="2447425"/>
                </a:cubicBezTo>
                <a:close/>
                <a:moveTo>
                  <a:pt x="9217207" y="2447425"/>
                </a:moveTo>
                <a:cubicBezTo>
                  <a:pt x="9270483" y="2718331"/>
                  <a:pt x="9485326" y="2933128"/>
                  <a:pt x="9760516" y="2992271"/>
                </a:cubicBezTo>
                <a:cubicBezTo>
                  <a:pt x="9707241" y="2721365"/>
                  <a:pt x="9492397" y="2506568"/>
                  <a:pt x="9217207" y="2447425"/>
                </a:cubicBezTo>
                <a:close/>
                <a:moveTo>
                  <a:pt x="8909958" y="2447425"/>
                </a:moveTo>
                <a:cubicBezTo>
                  <a:pt x="8634768" y="2506568"/>
                  <a:pt x="8419924" y="2721365"/>
                  <a:pt x="8366649" y="2992271"/>
                </a:cubicBezTo>
                <a:cubicBezTo>
                  <a:pt x="8641839" y="2933128"/>
                  <a:pt x="8856682" y="2718331"/>
                  <a:pt x="8909958" y="2447425"/>
                </a:cubicBezTo>
                <a:close/>
                <a:moveTo>
                  <a:pt x="7525056" y="2447425"/>
                </a:moveTo>
                <a:cubicBezTo>
                  <a:pt x="7578332" y="2718331"/>
                  <a:pt x="7793175" y="2933128"/>
                  <a:pt x="8068365" y="2992271"/>
                </a:cubicBezTo>
                <a:cubicBezTo>
                  <a:pt x="8015090" y="2721365"/>
                  <a:pt x="7800246" y="2506568"/>
                  <a:pt x="7525056" y="2447425"/>
                </a:cubicBezTo>
                <a:close/>
                <a:moveTo>
                  <a:pt x="7217807" y="2447425"/>
                </a:moveTo>
                <a:cubicBezTo>
                  <a:pt x="6942617" y="2506568"/>
                  <a:pt x="6727773" y="2721365"/>
                  <a:pt x="6674498" y="2992271"/>
                </a:cubicBezTo>
                <a:cubicBezTo>
                  <a:pt x="6949688" y="2933128"/>
                  <a:pt x="7164531" y="2718331"/>
                  <a:pt x="7217807" y="2447425"/>
                </a:cubicBezTo>
                <a:close/>
                <a:moveTo>
                  <a:pt x="5832905" y="2447425"/>
                </a:moveTo>
                <a:cubicBezTo>
                  <a:pt x="5886181" y="2718331"/>
                  <a:pt x="6101024" y="2933128"/>
                  <a:pt x="6376214" y="2992271"/>
                </a:cubicBezTo>
                <a:cubicBezTo>
                  <a:pt x="6322939" y="2721365"/>
                  <a:pt x="6108095" y="2506568"/>
                  <a:pt x="5832905" y="2447425"/>
                </a:cubicBezTo>
                <a:close/>
                <a:moveTo>
                  <a:pt x="5525656" y="2447425"/>
                </a:moveTo>
                <a:cubicBezTo>
                  <a:pt x="5250466" y="2506568"/>
                  <a:pt x="5035622" y="2721365"/>
                  <a:pt x="4982347" y="2992271"/>
                </a:cubicBezTo>
                <a:cubicBezTo>
                  <a:pt x="5257537" y="2933128"/>
                  <a:pt x="5472380" y="2718331"/>
                  <a:pt x="5525656" y="2447425"/>
                </a:cubicBezTo>
                <a:close/>
                <a:moveTo>
                  <a:pt x="4140754" y="2447425"/>
                </a:moveTo>
                <a:cubicBezTo>
                  <a:pt x="4194030" y="2718331"/>
                  <a:pt x="4408873" y="2933128"/>
                  <a:pt x="4684063" y="2992271"/>
                </a:cubicBezTo>
                <a:cubicBezTo>
                  <a:pt x="4630788" y="2721365"/>
                  <a:pt x="4415944" y="2506568"/>
                  <a:pt x="4140754" y="2447425"/>
                </a:cubicBezTo>
                <a:close/>
                <a:moveTo>
                  <a:pt x="3833505" y="2447425"/>
                </a:moveTo>
                <a:cubicBezTo>
                  <a:pt x="3558315" y="2506568"/>
                  <a:pt x="3343471" y="2721365"/>
                  <a:pt x="3290196" y="2992271"/>
                </a:cubicBezTo>
                <a:cubicBezTo>
                  <a:pt x="3565386" y="2933128"/>
                  <a:pt x="3780229" y="2718331"/>
                  <a:pt x="3833505" y="2447425"/>
                </a:cubicBezTo>
                <a:close/>
                <a:moveTo>
                  <a:pt x="2448603" y="2447425"/>
                </a:moveTo>
                <a:cubicBezTo>
                  <a:pt x="2501879" y="2718331"/>
                  <a:pt x="2716722" y="2933128"/>
                  <a:pt x="2991912" y="2992271"/>
                </a:cubicBezTo>
                <a:cubicBezTo>
                  <a:pt x="2938637" y="2721365"/>
                  <a:pt x="2723793" y="2506568"/>
                  <a:pt x="2448603" y="2447425"/>
                </a:cubicBezTo>
                <a:close/>
                <a:moveTo>
                  <a:pt x="2141354" y="2447425"/>
                </a:moveTo>
                <a:cubicBezTo>
                  <a:pt x="1866164" y="2506568"/>
                  <a:pt x="1651320" y="2721365"/>
                  <a:pt x="1598045" y="2992271"/>
                </a:cubicBezTo>
                <a:cubicBezTo>
                  <a:pt x="1873235" y="2933128"/>
                  <a:pt x="2088078" y="2718331"/>
                  <a:pt x="2141354" y="2447425"/>
                </a:cubicBezTo>
                <a:close/>
                <a:moveTo>
                  <a:pt x="756452" y="2447425"/>
                </a:moveTo>
                <a:cubicBezTo>
                  <a:pt x="809728" y="2718331"/>
                  <a:pt x="1024571" y="2933128"/>
                  <a:pt x="1299761" y="2992271"/>
                </a:cubicBezTo>
                <a:cubicBezTo>
                  <a:pt x="1246486" y="2721365"/>
                  <a:pt x="1031642" y="2506568"/>
                  <a:pt x="756452" y="2447425"/>
                </a:cubicBezTo>
                <a:close/>
                <a:moveTo>
                  <a:pt x="12192000" y="2344615"/>
                </a:moveTo>
                <a:lnTo>
                  <a:pt x="12192000" y="2477663"/>
                </a:lnTo>
                <a:cubicBezTo>
                  <a:pt x="11966807" y="2562375"/>
                  <a:pt x="11797421" y="2755980"/>
                  <a:pt x="11750953" y="2992271"/>
                </a:cubicBezTo>
                <a:cubicBezTo>
                  <a:pt x="11935988" y="2952504"/>
                  <a:pt x="12093739" y="2842365"/>
                  <a:pt x="12192000" y="2691161"/>
                </a:cubicBezTo>
                <a:lnTo>
                  <a:pt x="12192000" y="2892735"/>
                </a:lnTo>
                <a:cubicBezTo>
                  <a:pt x="12071770" y="3011736"/>
                  <a:pt x="11914089" y="3094511"/>
                  <a:pt x="11737582" y="3123727"/>
                </a:cubicBezTo>
                <a:lnTo>
                  <a:pt x="11737466" y="3124875"/>
                </a:lnTo>
                <a:cubicBezTo>
                  <a:pt x="11732155" y="3125886"/>
                  <a:pt x="11726826" y="3126834"/>
                  <a:pt x="11721249" y="3126415"/>
                </a:cubicBezTo>
                <a:cubicBezTo>
                  <a:pt x="11690077" y="3131969"/>
                  <a:pt x="11658197" y="3134950"/>
                  <a:pt x="11625822" y="3135477"/>
                </a:cubicBezTo>
                <a:lnTo>
                  <a:pt x="11608704" y="3137103"/>
                </a:lnTo>
                <a:lnTo>
                  <a:pt x="11608678" y="3136608"/>
                </a:lnTo>
                <a:lnTo>
                  <a:pt x="11608179" y="3136641"/>
                </a:lnTo>
                <a:cubicBezTo>
                  <a:pt x="11607613" y="3132839"/>
                  <a:pt x="11607586" y="3129023"/>
                  <a:pt x="11607586" y="3125201"/>
                </a:cubicBezTo>
                <a:cubicBezTo>
                  <a:pt x="11607586" y="3119519"/>
                  <a:pt x="11607645" y="3113850"/>
                  <a:pt x="11608957" y="3108220"/>
                </a:cubicBezTo>
                <a:cubicBezTo>
                  <a:pt x="11608914" y="3076892"/>
                  <a:pt x="11611364" y="3046007"/>
                  <a:pt x="11616421" y="3015763"/>
                </a:cubicBezTo>
                <a:lnTo>
                  <a:pt x="11616961" y="3009073"/>
                </a:lnTo>
                <a:cubicBezTo>
                  <a:pt x="11617130" y="3009068"/>
                  <a:pt x="11617299" y="3009063"/>
                  <a:pt x="11617466" y="3009010"/>
                </a:cubicBezTo>
                <a:cubicBezTo>
                  <a:pt x="11662185" y="2695154"/>
                  <a:pt x="11889463" y="2438329"/>
                  <a:pt x="12192000" y="2344615"/>
                </a:cubicBezTo>
                <a:close/>
                <a:moveTo>
                  <a:pt x="10767111" y="2302594"/>
                </a:moveTo>
                <a:lnTo>
                  <a:pt x="10784198" y="2304217"/>
                </a:lnTo>
                <a:cubicBezTo>
                  <a:pt x="10816584" y="2304744"/>
                  <a:pt x="10848477" y="2307725"/>
                  <a:pt x="10879660" y="2313282"/>
                </a:cubicBezTo>
                <a:cubicBezTo>
                  <a:pt x="10885236" y="2312863"/>
                  <a:pt x="10890564" y="2313811"/>
                  <a:pt x="10895873" y="2314821"/>
                </a:cubicBezTo>
                <a:lnTo>
                  <a:pt x="10895990" y="2315969"/>
                </a:lnTo>
                <a:cubicBezTo>
                  <a:pt x="11254840" y="2375367"/>
                  <a:pt x="11535879" y="2656144"/>
                  <a:pt x="11586156" y="3009010"/>
                </a:cubicBezTo>
                <a:cubicBezTo>
                  <a:pt x="11586323" y="3009063"/>
                  <a:pt x="11586492" y="3009068"/>
                  <a:pt x="11586661" y="3009073"/>
                </a:cubicBezTo>
                <a:lnTo>
                  <a:pt x="11587201" y="3015763"/>
                </a:lnTo>
                <a:cubicBezTo>
                  <a:pt x="11592258" y="3046007"/>
                  <a:pt x="11594708" y="3076892"/>
                  <a:pt x="11594665" y="3108220"/>
                </a:cubicBezTo>
                <a:cubicBezTo>
                  <a:pt x="11595977" y="3113850"/>
                  <a:pt x="11596036" y="3119519"/>
                  <a:pt x="11596036" y="3125201"/>
                </a:cubicBezTo>
                <a:cubicBezTo>
                  <a:pt x="11596036" y="3129023"/>
                  <a:pt x="11596009" y="3132839"/>
                  <a:pt x="11595443" y="3136641"/>
                </a:cubicBezTo>
                <a:lnTo>
                  <a:pt x="11594944" y="3136608"/>
                </a:lnTo>
                <a:lnTo>
                  <a:pt x="11594918" y="3137103"/>
                </a:lnTo>
                <a:lnTo>
                  <a:pt x="11577800" y="3135477"/>
                </a:lnTo>
                <a:cubicBezTo>
                  <a:pt x="11545425" y="3134950"/>
                  <a:pt x="11513545" y="3131969"/>
                  <a:pt x="11482373" y="3126415"/>
                </a:cubicBezTo>
                <a:cubicBezTo>
                  <a:pt x="11476796" y="3126834"/>
                  <a:pt x="11471467" y="3125886"/>
                  <a:pt x="11466156" y="3124875"/>
                </a:cubicBezTo>
                <a:lnTo>
                  <a:pt x="11466040" y="3123727"/>
                </a:lnTo>
                <a:cubicBezTo>
                  <a:pt x="11107189" y="3064328"/>
                  <a:pt x="10826150" y="2783551"/>
                  <a:pt x="10775875" y="2430686"/>
                </a:cubicBezTo>
                <a:cubicBezTo>
                  <a:pt x="10775707" y="2430633"/>
                  <a:pt x="10775539" y="2430628"/>
                  <a:pt x="10775369" y="2430623"/>
                </a:cubicBezTo>
                <a:lnTo>
                  <a:pt x="10774831" y="2423947"/>
                </a:lnTo>
                <a:cubicBezTo>
                  <a:pt x="10769772" y="2393697"/>
                  <a:pt x="10767321" y="2362806"/>
                  <a:pt x="10767364" y="2331471"/>
                </a:cubicBezTo>
                <a:cubicBezTo>
                  <a:pt x="10766052" y="2325843"/>
                  <a:pt x="10765993" y="2320176"/>
                  <a:pt x="10765993" y="2314495"/>
                </a:cubicBezTo>
                <a:lnTo>
                  <a:pt x="10766587" y="2303055"/>
                </a:lnTo>
                <a:lnTo>
                  <a:pt x="10767085" y="2303088"/>
                </a:lnTo>
                <a:close/>
                <a:moveTo>
                  <a:pt x="10744358" y="2302594"/>
                </a:moveTo>
                <a:lnTo>
                  <a:pt x="10744384" y="2303088"/>
                </a:lnTo>
                <a:lnTo>
                  <a:pt x="10744882" y="2303055"/>
                </a:lnTo>
                <a:lnTo>
                  <a:pt x="10745476" y="2314495"/>
                </a:lnTo>
                <a:cubicBezTo>
                  <a:pt x="10745476" y="2320176"/>
                  <a:pt x="10745417" y="2325843"/>
                  <a:pt x="10744105" y="2331471"/>
                </a:cubicBezTo>
                <a:cubicBezTo>
                  <a:pt x="10744148" y="2362806"/>
                  <a:pt x="10741697" y="2393697"/>
                  <a:pt x="10736638" y="2423947"/>
                </a:cubicBezTo>
                <a:lnTo>
                  <a:pt x="10736100" y="2430623"/>
                </a:lnTo>
                <a:cubicBezTo>
                  <a:pt x="10735930" y="2430628"/>
                  <a:pt x="10735762" y="2430633"/>
                  <a:pt x="10735594" y="2430686"/>
                </a:cubicBezTo>
                <a:cubicBezTo>
                  <a:pt x="10685319" y="2783551"/>
                  <a:pt x="10404280" y="3064328"/>
                  <a:pt x="10045429" y="3123727"/>
                </a:cubicBezTo>
                <a:lnTo>
                  <a:pt x="10045313" y="3124875"/>
                </a:lnTo>
                <a:cubicBezTo>
                  <a:pt x="10040002" y="3125886"/>
                  <a:pt x="10034673" y="3126834"/>
                  <a:pt x="10029096" y="3126415"/>
                </a:cubicBezTo>
                <a:cubicBezTo>
                  <a:pt x="9997924" y="3131969"/>
                  <a:pt x="9966044" y="3134950"/>
                  <a:pt x="9933669" y="3135477"/>
                </a:cubicBezTo>
                <a:lnTo>
                  <a:pt x="9916551" y="3137103"/>
                </a:lnTo>
                <a:lnTo>
                  <a:pt x="9916525" y="3136608"/>
                </a:lnTo>
                <a:lnTo>
                  <a:pt x="9916026" y="3136641"/>
                </a:lnTo>
                <a:cubicBezTo>
                  <a:pt x="9915460" y="3132839"/>
                  <a:pt x="9915433" y="3129023"/>
                  <a:pt x="9915433" y="3125201"/>
                </a:cubicBezTo>
                <a:cubicBezTo>
                  <a:pt x="9915433" y="3119519"/>
                  <a:pt x="9915492" y="3113850"/>
                  <a:pt x="9916804" y="3108220"/>
                </a:cubicBezTo>
                <a:cubicBezTo>
                  <a:pt x="9916761" y="3076892"/>
                  <a:pt x="9919211" y="3046007"/>
                  <a:pt x="9924268" y="3015763"/>
                </a:cubicBezTo>
                <a:lnTo>
                  <a:pt x="9924808" y="3009073"/>
                </a:lnTo>
                <a:cubicBezTo>
                  <a:pt x="9924977" y="3009068"/>
                  <a:pt x="9925146" y="3009063"/>
                  <a:pt x="9925314" y="3009010"/>
                </a:cubicBezTo>
                <a:cubicBezTo>
                  <a:pt x="9975590" y="2656144"/>
                  <a:pt x="10256629" y="2375367"/>
                  <a:pt x="10615479" y="2315969"/>
                </a:cubicBezTo>
                <a:lnTo>
                  <a:pt x="10615596" y="2314821"/>
                </a:lnTo>
                <a:cubicBezTo>
                  <a:pt x="10620905" y="2313811"/>
                  <a:pt x="10626233" y="2312863"/>
                  <a:pt x="10631809" y="2313282"/>
                </a:cubicBezTo>
                <a:cubicBezTo>
                  <a:pt x="10662992" y="2307725"/>
                  <a:pt x="10694885" y="2304744"/>
                  <a:pt x="10727271" y="2304217"/>
                </a:cubicBezTo>
                <a:close/>
                <a:moveTo>
                  <a:pt x="9074958" y="2302594"/>
                </a:moveTo>
                <a:lnTo>
                  <a:pt x="9092045" y="2304217"/>
                </a:lnTo>
                <a:cubicBezTo>
                  <a:pt x="9124431" y="2304744"/>
                  <a:pt x="9156324" y="2307725"/>
                  <a:pt x="9187507" y="2313282"/>
                </a:cubicBezTo>
                <a:cubicBezTo>
                  <a:pt x="9193083" y="2312863"/>
                  <a:pt x="9198411" y="2313811"/>
                  <a:pt x="9203720" y="2314821"/>
                </a:cubicBezTo>
                <a:lnTo>
                  <a:pt x="9203837" y="2315969"/>
                </a:lnTo>
                <a:cubicBezTo>
                  <a:pt x="9562687" y="2375367"/>
                  <a:pt x="9843726" y="2656144"/>
                  <a:pt x="9894002" y="3009010"/>
                </a:cubicBezTo>
                <a:cubicBezTo>
                  <a:pt x="9894170" y="3009063"/>
                  <a:pt x="9894339" y="3009068"/>
                  <a:pt x="9894508" y="3009073"/>
                </a:cubicBezTo>
                <a:lnTo>
                  <a:pt x="9895048" y="3015763"/>
                </a:lnTo>
                <a:cubicBezTo>
                  <a:pt x="9900105" y="3046007"/>
                  <a:pt x="9902555" y="3076892"/>
                  <a:pt x="9902512" y="3108220"/>
                </a:cubicBezTo>
                <a:cubicBezTo>
                  <a:pt x="9903824" y="3113850"/>
                  <a:pt x="9903883" y="3119519"/>
                  <a:pt x="9903883" y="3125201"/>
                </a:cubicBezTo>
                <a:cubicBezTo>
                  <a:pt x="9903883" y="3129023"/>
                  <a:pt x="9903856" y="3132839"/>
                  <a:pt x="9903290" y="3136641"/>
                </a:cubicBezTo>
                <a:lnTo>
                  <a:pt x="9902791" y="3136608"/>
                </a:lnTo>
                <a:lnTo>
                  <a:pt x="9902765" y="3137103"/>
                </a:lnTo>
                <a:lnTo>
                  <a:pt x="9885647" y="3135477"/>
                </a:lnTo>
                <a:cubicBezTo>
                  <a:pt x="9853272" y="3134950"/>
                  <a:pt x="9821392" y="3131969"/>
                  <a:pt x="9790220" y="3126415"/>
                </a:cubicBezTo>
                <a:cubicBezTo>
                  <a:pt x="9784643" y="3126834"/>
                  <a:pt x="9779314" y="3125886"/>
                  <a:pt x="9774003" y="3124875"/>
                </a:cubicBezTo>
                <a:lnTo>
                  <a:pt x="9773887" y="3123727"/>
                </a:lnTo>
                <a:cubicBezTo>
                  <a:pt x="9415036" y="3064328"/>
                  <a:pt x="9133997" y="2783551"/>
                  <a:pt x="9083722" y="2430686"/>
                </a:cubicBezTo>
                <a:cubicBezTo>
                  <a:pt x="9083554" y="2430633"/>
                  <a:pt x="9083386" y="2430628"/>
                  <a:pt x="9083216" y="2430623"/>
                </a:cubicBezTo>
                <a:lnTo>
                  <a:pt x="9082678" y="2423947"/>
                </a:lnTo>
                <a:cubicBezTo>
                  <a:pt x="9077619" y="2393697"/>
                  <a:pt x="9075168" y="2362806"/>
                  <a:pt x="9075211" y="2331471"/>
                </a:cubicBezTo>
                <a:cubicBezTo>
                  <a:pt x="9073899" y="2325843"/>
                  <a:pt x="9073840" y="2320176"/>
                  <a:pt x="9073840" y="2314495"/>
                </a:cubicBezTo>
                <a:lnTo>
                  <a:pt x="9074434" y="2303055"/>
                </a:lnTo>
                <a:lnTo>
                  <a:pt x="9074932" y="2303088"/>
                </a:lnTo>
                <a:close/>
                <a:moveTo>
                  <a:pt x="9052207" y="2302594"/>
                </a:moveTo>
                <a:lnTo>
                  <a:pt x="9052233" y="2303088"/>
                </a:lnTo>
                <a:lnTo>
                  <a:pt x="9052731" y="2303055"/>
                </a:lnTo>
                <a:lnTo>
                  <a:pt x="9053325" y="2314495"/>
                </a:lnTo>
                <a:cubicBezTo>
                  <a:pt x="9053325" y="2320176"/>
                  <a:pt x="9053266" y="2325843"/>
                  <a:pt x="9051954" y="2331471"/>
                </a:cubicBezTo>
                <a:cubicBezTo>
                  <a:pt x="9051997" y="2362806"/>
                  <a:pt x="9049546" y="2393697"/>
                  <a:pt x="9044487" y="2423947"/>
                </a:cubicBezTo>
                <a:lnTo>
                  <a:pt x="9043949" y="2430623"/>
                </a:lnTo>
                <a:cubicBezTo>
                  <a:pt x="9043779" y="2430628"/>
                  <a:pt x="9043611" y="2430633"/>
                  <a:pt x="9043443" y="2430686"/>
                </a:cubicBezTo>
                <a:cubicBezTo>
                  <a:pt x="8993168" y="2783551"/>
                  <a:pt x="8712129" y="3064328"/>
                  <a:pt x="8353278" y="3123727"/>
                </a:cubicBezTo>
                <a:lnTo>
                  <a:pt x="8353162" y="3124875"/>
                </a:lnTo>
                <a:cubicBezTo>
                  <a:pt x="8347851" y="3125886"/>
                  <a:pt x="8342522" y="3126834"/>
                  <a:pt x="8336945" y="3126415"/>
                </a:cubicBezTo>
                <a:cubicBezTo>
                  <a:pt x="8305773" y="3131969"/>
                  <a:pt x="8273893" y="3134950"/>
                  <a:pt x="8241519" y="3135477"/>
                </a:cubicBezTo>
                <a:lnTo>
                  <a:pt x="8224400" y="3137103"/>
                </a:lnTo>
                <a:lnTo>
                  <a:pt x="8224374" y="3136608"/>
                </a:lnTo>
                <a:lnTo>
                  <a:pt x="8223875" y="3136641"/>
                </a:lnTo>
                <a:cubicBezTo>
                  <a:pt x="8223309" y="3132839"/>
                  <a:pt x="8223282" y="3129023"/>
                  <a:pt x="8223282" y="3125201"/>
                </a:cubicBezTo>
                <a:cubicBezTo>
                  <a:pt x="8223282" y="3119519"/>
                  <a:pt x="8223341" y="3113850"/>
                  <a:pt x="8224653" y="3108220"/>
                </a:cubicBezTo>
                <a:cubicBezTo>
                  <a:pt x="8224611" y="3076892"/>
                  <a:pt x="8227060" y="3046007"/>
                  <a:pt x="8232117" y="3015763"/>
                </a:cubicBezTo>
                <a:lnTo>
                  <a:pt x="8232657" y="3009073"/>
                </a:lnTo>
                <a:cubicBezTo>
                  <a:pt x="8232826" y="3009068"/>
                  <a:pt x="8232995" y="3009063"/>
                  <a:pt x="8233163" y="3009010"/>
                </a:cubicBezTo>
                <a:cubicBezTo>
                  <a:pt x="8283439" y="2656144"/>
                  <a:pt x="8564478" y="2375367"/>
                  <a:pt x="8923328" y="2315969"/>
                </a:cubicBezTo>
                <a:lnTo>
                  <a:pt x="8923445" y="2314821"/>
                </a:lnTo>
                <a:cubicBezTo>
                  <a:pt x="8928754" y="2313811"/>
                  <a:pt x="8934082" y="2312863"/>
                  <a:pt x="8939658" y="2313282"/>
                </a:cubicBezTo>
                <a:cubicBezTo>
                  <a:pt x="8970841" y="2307725"/>
                  <a:pt x="9002734" y="2304744"/>
                  <a:pt x="9035120" y="2304217"/>
                </a:cubicBezTo>
                <a:close/>
                <a:moveTo>
                  <a:pt x="7382807" y="2302594"/>
                </a:moveTo>
                <a:lnTo>
                  <a:pt x="7399895" y="2304217"/>
                </a:lnTo>
                <a:cubicBezTo>
                  <a:pt x="7432280" y="2304744"/>
                  <a:pt x="7464173" y="2307725"/>
                  <a:pt x="7495356" y="2313282"/>
                </a:cubicBezTo>
                <a:cubicBezTo>
                  <a:pt x="7500932" y="2312863"/>
                  <a:pt x="7506260" y="2313811"/>
                  <a:pt x="7511569" y="2314821"/>
                </a:cubicBezTo>
                <a:lnTo>
                  <a:pt x="7511686" y="2315969"/>
                </a:lnTo>
                <a:cubicBezTo>
                  <a:pt x="7870536" y="2375367"/>
                  <a:pt x="8151575" y="2656144"/>
                  <a:pt x="8201852" y="3009010"/>
                </a:cubicBezTo>
                <a:cubicBezTo>
                  <a:pt x="8202019" y="3009063"/>
                  <a:pt x="8202189" y="3009068"/>
                  <a:pt x="8202357" y="3009073"/>
                </a:cubicBezTo>
                <a:lnTo>
                  <a:pt x="8202898" y="3015763"/>
                </a:lnTo>
                <a:cubicBezTo>
                  <a:pt x="8207954" y="3046007"/>
                  <a:pt x="8210404" y="3076892"/>
                  <a:pt x="8210362" y="3108220"/>
                </a:cubicBezTo>
                <a:cubicBezTo>
                  <a:pt x="8211674" y="3113850"/>
                  <a:pt x="8211732" y="3119519"/>
                  <a:pt x="8211732" y="3125201"/>
                </a:cubicBezTo>
                <a:cubicBezTo>
                  <a:pt x="8211732" y="3129023"/>
                  <a:pt x="8211705" y="3132839"/>
                  <a:pt x="8211139" y="3136641"/>
                </a:cubicBezTo>
                <a:lnTo>
                  <a:pt x="8210640" y="3136608"/>
                </a:lnTo>
                <a:lnTo>
                  <a:pt x="8210614" y="3137103"/>
                </a:lnTo>
                <a:lnTo>
                  <a:pt x="8193496" y="3135477"/>
                </a:lnTo>
                <a:cubicBezTo>
                  <a:pt x="8161122" y="3134950"/>
                  <a:pt x="8129241" y="3131969"/>
                  <a:pt x="8098069" y="3126415"/>
                </a:cubicBezTo>
                <a:cubicBezTo>
                  <a:pt x="8092492" y="3126834"/>
                  <a:pt x="8087163" y="3125886"/>
                  <a:pt x="8081853" y="3124875"/>
                </a:cubicBezTo>
                <a:lnTo>
                  <a:pt x="8081737" y="3123727"/>
                </a:lnTo>
                <a:cubicBezTo>
                  <a:pt x="7722885" y="3064328"/>
                  <a:pt x="7441846" y="2783551"/>
                  <a:pt x="7391571" y="2430686"/>
                </a:cubicBezTo>
                <a:cubicBezTo>
                  <a:pt x="7391403" y="2430633"/>
                  <a:pt x="7391235" y="2430628"/>
                  <a:pt x="7391065" y="2430623"/>
                </a:cubicBezTo>
                <a:lnTo>
                  <a:pt x="7390527" y="2423947"/>
                </a:lnTo>
                <a:cubicBezTo>
                  <a:pt x="7385468" y="2393697"/>
                  <a:pt x="7383018" y="2362806"/>
                  <a:pt x="7383060" y="2331471"/>
                </a:cubicBezTo>
                <a:cubicBezTo>
                  <a:pt x="7381748" y="2325843"/>
                  <a:pt x="7381689" y="2320176"/>
                  <a:pt x="7381689" y="2314495"/>
                </a:cubicBezTo>
                <a:lnTo>
                  <a:pt x="7382283" y="2303055"/>
                </a:lnTo>
                <a:lnTo>
                  <a:pt x="7382781" y="2303088"/>
                </a:lnTo>
                <a:close/>
                <a:moveTo>
                  <a:pt x="7360056" y="2302594"/>
                </a:moveTo>
                <a:lnTo>
                  <a:pt x="7360082" y="2303088"/>
                </a:lnTo>
                <a:lnTo>
                  <a:pt x="7360580" y="2303055"/>
                </a:lnTo>
                <a:lnTo>
                  <a:pt x="7361174" y="2314495"/>
                </a:lnTo>
                <a:cubicBezTo>
                  <a:pt x="7361174" y="2320176"/>
                  <a:pt x="7361116" y="2325843"/>
                  <a:pt x="7359804" y="2331471"/>
                </a:cubicBezTo>
                <a:cubicBezTo>
                  <a:pt x="7359846" y="2362806"/>
                  <a:pt x="7357395" y="2393697"/>
                  <a:pt x="7352337" y="2423947"/>
                </a:cubicBezTo>
                <a:lnTo>
                  <a:pt x="7351798" y="2430623"/>
                </a:lnTo>
                <a:cubicBezTo>
                  <a:pt x="7351629" y="2430628"/>
                  <a:pt x="7351460" y="2430633"/>
                  <a:pt x="7351293" y="2430686"/>
                </a:cubicBezTo>
                <a:cubicBezTo>
                  <a:pt x="7301017" y="2783551"/>
                  <a:pt x="7019978" y="3064328"/>
                  <a:pt x="6661127" y="3123727"/>
                </a:cubicBezTo>
                <a:lnTo>
                  <a:pt x="6661011" y="3124875"/>
                </a:lnTo>
                <a:cubicBezTo>
                  <a:pt x="6655700" y="3125886"/>
                  <a:pt x="6650371" y="3126834"/>
                  <a:pt x="6644794" y="3126415"/>
                </a:cubicBezTo>
                <a:cubicBezTo>
                  <a:pt x="6613622" y="3131969"/>
                  <a:pt x="6581742" y="3134950"/>
                  <a:pt x="6549368" y="3135477"/>
                </a:cubicBezTo>
                <a:lnTo>
                  <a:pt x="6532249" y="3137103"/>
                </a:lnTo>
                <a:lnTo>
                  <a:pt x="6532223" y="3136608"/>
                </a:lnTo>
                <a:lnTo>
                  <a:pt x="6531724" y="3136641"/>
                </a:lnTo>
                <a:cubicBezTo>
                  <a:pt x="6531158" y="3132839"/>
                  <a:pt x="6531131" y="3129023"/>
                  <a:pt x="6531131" y="3125201"/>
                </a:cubicBezTo>
                <a:cubicBezTo>
                  <a:pt x="6531131" y="3119519"/>
                  <a:pt x="6531190" y="3113850"/>
                  <a:pt x="6532502" y="3108220"/>
                </a:cubicBezTo>
                <a:cubicBezTo>
                  <a:pt x="6532460" y="3076892"/>
                  <a:pt x="6534909" y="3046007"/>
                  <a:pt x="6539966" y="3015763"/>
                </a:cubicBezTo>
                <a:lnTo>
                  <a:pt x="6540506" y="3009073"/>
                </a:lnTo>
                <a:cubicBezTo>
                  <a:pt x="6540675" y="3009068"/>
                  <a:pt x="6540844" y="3009063"/>
                  <a:pt x="6541012" y="3009010"/>
                </a:cubicBezTo>
                <a:cubicBezTo>
                  <a:pt x="6591288" y="2656144"/>
                  <a:pt x="6872327" y="2375367"/>
                  <a:pt x="7231178" y="2315969"/>
                </a:cubicBezTo>
                <a:lnTo>
                  <a:pt x="7231295" y="2314821"/>
                </a:lnTo>
                <a:cubicBezTo>
                  <a:pt x="7236603" y="2313811"/>
                  <a:pt x="7241931" y="2312863"/>
                  <a:pt x="7247507" y="2313282"/>
                </a:cubicBezTo>
                <a:cubicBezTo>
                  <a:pt x="7278691" y="2307725"/>
                  <a:pt x="7310583" y="2304744"/>
                  <a:pt x="7342969" y="2304217"/>
                </a:cubicBezTo>
                <a:close/>
                <a:moveTo>
                  <a:pt x="5690656" y="2302594"/>
                </a:moveTo>
                <a:lnTo>
                  <a:pt x="5707743" y="2304217"/>
                </a:lnTo>
                <a:cubicBezTo>
                  <a:pt x="5740129" y="2304744"/>
                  <a:pt x="5772021" y="2307725"/>
                  <a:pt x="5803205" y="2313282"/>
                </a:cubicBezTo>
                <a:cubicBezTo>
                  <a:pt x="5808781" y="2312863"/>
                  <a:pt x="5814109" y="2313811"/>
                  <a:pt x="5819417" y="2314821"/>
                </a:cubicBezTo>
                <a:lnTo>
                  <a:pt x="5819534" y="2315969"/>
                </a:lnTo>
                <a:cubicBezTo>
                  <a:pt x="6178385" y="2375367"/>
                  <a:pt x="6459424" y="2656144"/>
                  <a:pt x="6509700" y="3009010"/>
                </a:cubicBezTo>
                <a:cubicBezTo>
                  <a:pt x="6509868" y="3009063"/>
                  <a:pt x="6510037" y="3009068"/>
                  <a:pt x="6510206" y="3009073"/>
                </a:cubicBezTo>
                <a:lnTo>
                  <a:pt x="6510746" y="3015763"/>
                </a:lnTo>
                <a:cubicBezTo>
                  <a:pt x="6515803" y="3046007"/>
                  <a:pt x="6518252" y="3076892"/>
                  <a:pt x="6518210" y="3108220"/>
                </a:cubicBezTo>
                <a:cubicBezTo>
                  <a:pt x="6519522" y="3113850"/>
                  <a:pt x="6519581" y="3119519"/>
                  <a:pt x="6519581" y="3125201"/>
                </a:cubicBezTo>
                <a:cubicBezTo>
                  <a:pt x="6519581" y="3129023"/>
                  <a:pt x="6519554" y="3132839"/>
                  <a:pt x="6518988" y="3136641"/>
                </a:cubicBezTo>
                <a:lnTo>
                  <a:pt x="6518489" y="3136608"/>
                </a:lnTo>
                <a:lnTo>
                  <a:pt x="6518463" y="3137103"/>
                </a:lnTo>
                <a:lnTo>
                  <a:pt x="6501344" y="3135477"/>
                </a:lnTo>
                <a:cubicBezTo>
                  <a:pt x="6468970" y="3134950"/>
                  <a:pt x="6437090" y="3131969"/>
                  <a:pt x="6405918" y="3126415"/>
                </a:cubicBezTo>
                <a:cubicBezTo>
                  <a:pt x="6400341" y="3126834"/>
                  <a:pt x="6395012" y="3125886"/>
                  <a:pt x="6389701" y="3124875"/>
                </a:cubicBezTo>
                <a:lnTo>
                  <a:pt x="6389585" y="3123727"/>
                </a:lnTo>
                <a:cubicBezTo>
                  <a:pt x="6030734" y="3064328"/>
                  <a:pt x="5749695" y="2783551"/>
                  <a:pt x="5699419" y="2430686"/>
                </a:cubicBezTo>
                <a:cubicBezTo>
                  <a:pt x="5699252" y="2430633"/>
                  <a:pt x="5699083" y="2430628"/>
                  <a:pt x="5698914" y="2430623"/>
                </a:cubicBezTo>
                <a:lnTo>
                  <a:pt x="5698375" y="2423947"/>
                </a:lnTo>
                <a:cubicBezTo>
                  <a:pt x="5693317" y="2393697"/>
                  <a:pt x="5690866" y="2362806"/>
                  <a:pt x="5690908" y="2331471"/>
                </a:cubicBezTo>
                <a:cubicBezTo>
                  <a:pt x="5689596" y="2325843"/>
                  <a:pt x="5689538" y="2320176"/>
                  <a:pt x="5689538" y="2314495"/>
                </a:cubicBezTo>
                <a:lnTo>
                  <a:pt x="5690132" y="2303055"/>
                </a:lnTo>
                <a:lnTo>
                  <a:pt x="5690630" y="2303088"/>
                </a:lnTo>
                <a:close/>
                <a:moveTo>
                  <a:pt x="5667905" y="2302594"/>
                </a:moveTo>
                <a:lnTo>
                  <a:pt x="5667931" y="2303088"/>
                </a:lnTo>
                <a:lnTo>
                  <a:pt x="5668429" y="2303055"/>
                </a:lnTo>
                <a:lnTo>
                  <a:pt x="5669023" y="2314495"/>
                </a:lnTo>
                <a:cubicBezTo>
                  <a:pt x="5669023" y="2320176"/>
                  <a:pt x="5668964" y="2325843"/>
                  <a:pt x="5667652" y="2331471"/>
                </a:cubicBezTo>
                <a:cubicBezTo>
                  <a:pt x="5667694" y="2362806"/>
                  <a:pt x="5665244" y="2393697"/>
                  <a:pt x="5660185" y="2423947"/>
                </a:cubicBezTo>
                <a:lnTo>
                  <a:pt x="5659647" y="2430623"/>
                </a:lnTo>
                <a:cubicBezTo>
                  <a:pt x="5659477" y="2430628"/>
                  <a:pt x="5659309" y="2430633"/>
                  <a:pt x="5659141" y="2430686"/>
                </a:cubicBezTo>
                <a:cubicBezTo>
                  <a:pt x="5608866" y="2783551"/>
                  <a:pt x="5327827" y="3064328"/>
                  <a:pt x="4968975" y="3123727"/>
                </a:cubicBezTo>
                <a:lnTo>
                  <a:pt x="4968859" y="3124875"/>
                </a:lnTo>
                <a:cubicBezTo>
                  <a:pt x="4963549" y="3125886"/>
                  <a:pt x="4958220" y="3126834"/>
                  <a:pt x="4952643" y="3126415"/>
                </a:cubicBezTo>
                <a:cubicBezTo>
                  <a:pt x="4921471" y="3131969"/>
                  <a:pt x="4889590" y="3134950"/>
                  <a:pt x="4857216" y="3135477"/>
                </a:cubicBezTo>
                <a:lnTo>
                  <a:pt x="4840098" y="3137103"/>
                </a:lnTo>
                <a:lnTo>
                  <a:pt x="4840072" y="3136608"/>
                </a:lnTo>
                <a:lnTo>
                  <a:pt x="4839573" y="3136641"/>
                </a:lnTo>
                <a:cubicBezTo>
                  <a:pt x="4839007" y="3132839"/>
                  <a:pt x="4838980" y="3129023"/>
                  <a:pt x="4838980" y="3125201"/>
                </a:cubicBezTo>
                <a:cubicBezTo>
                  <a:pt x="4838980" y="3119519"/>
                  <a:pt x="4839038" y="3113850"/>
                  <a:pt x="4840350" y="3108220"/>
                </a:cubicBezTo>
                <a:cubicBezTo>
                  <a:pt x="4840308" y="3076892"/>
                  <a:pt x="4842758" y="3046007"/>
                  <a:pt x="4847814" y="3015763"/>
                </a:cubicBezTo>
                <a:lnTo>
                  <a:pt x="4848355" y="3009073"/>
                </a:lnTo>
                <a:cubicBezTo>
                  <a:pt x="4848523" y="3009068"/>
                  <a:pt x="4848693" y="3009063"/>
                  <a:pt x="4848860" y="3009010"/>
                </a:cubicBezTo>
                <a:cubicBezTo>
                  <a:pt x="4899137" y="2656144"/>
                  <a:pt x="5180176" y="2375367"/>
                  <a:pt x="5539026" y="2315969"/>
                </a:cubicBezTo>
                <a:lnTo>
                  <a:pt x="5539143" y="2314821"/>
                </a:lnTo>
                <a:cubicBezTo>
                  <a:pt x="5544452" y="2313811"/>
                  <a:pt x="5549780" y="2312863"/>
                  <a:pt x="5555356" y="2313282"/>
                </a:cubicBezTo>
                <a:cubicBezTo>
                  <a:pt x="5586539" y="2307725"/>
                  <a:pt x="5618432" y="2304744"/>
                  <a:pt x="5650817" y="2304217"/>
                </a:cubicBezTo>
                <a:close/>
                <a:moveTo>
                  <a:pt x="3998505" y="2302594"/>
                </a:moveTo>
                <a:lnTo>
                  <a:pt x="4015592" y="2304217"/>
                </a:lnTo>
                <a:cubicBezTo>
                  <a:pt x="4047978" y="2304744"/>
                  <a:pt x="4079870" y="2307725"/>
                  <a:pt x="4111054" y="2313282"/>
                </a:cubicBezTo>
                <a:cubicBezTo>
                  <a:pt x="4116630" y="2312863"/>
                  <a:pt x="4121958" y="2313811"/>
                  <a:pt x="4127266" y="2314821"/>
                </a:cubicBezTo>
                <a:lnTo>
                  <a:pt x="4127384" y="2315969"/>
                </a:lnTo>
                <a:cubicBezTo>
                  <a:pt x="4486234" y="2375367"/>
                  <a:pt x="4767273" y="2656144"/>
                  <a:pt x="4817549" y="3009010"/>
                </a:cubicBezTo>
                <a:cubicBezTo>
                  <a:pt x="4817717" y="3009063"/>
                  <a:pt x="4817886" y="3009068"/>
                  <a:pt x="4818055" y="3009073"/>
                </a:cubicBezTo>
                <a:lnTo>
                  <a:pt x="4818595" y="3015763"/>
                </a:lnTo>
                <a:cubicBezTo>
                  <a:pt x="4823652" y="3046007"/>
                  <a:pt x="4826101" y="3076892"/>
                  <a:pt x="4826059" y="3108220"/>
                </a:cubicBezTo>
                <a:cubicBezTo>
                  <a:pt x="4827371" y="3113850"/>
                  <a:pt x="4827430" y="3119519"/>
                  <a:pt x="4827430" y="3125201"/>
                </a:cubicBezTo>
                <a:cubicBezTo>
                  <a:pt x="4827430" y="3129023"/>
                  <a:pt x="4827403" y="3132839"/>
                  <a:pt x="4826837" y="3136641"/>
                </a:cubicBezTo>
                <a:lnTo>
                  <a:pt x="4826338" y="3136608"/>
                </a:lnTo>
                <a:lnTo>
                  <a:pt x="4826312" y="3137103"/>
                </a:lnTo>
                <a:lnTo>
                  <a:pt x="4809193" y="3135477"/>
                </a:lnTo>
                <a:cubicBezTo>
                  <a:pt x="4776819" y="3134950"/>
                  <a:pt x="4744939" y="3131969"/>
                  <a:pt x="4713767" y="3126415"/>
                </a:cubicBezTo>
                <a:cubicBezTo>
                  <a:pt x="4708190" y="3126834"/>
                  <a:pt x="4702861" y="3125886"/>
                  <a:pt x="4697550" y="3124875"/>
                </a:cubicBezTo>
                <a:lnTo>
                  <a:pt x="4697434" y="3123727"/>
                </a:lnTo>
                <a:cubicBezTo>
                  <a:pt x="4338583" y="3064328"/>
                  <a:pt x="4057544" y="2783551"/>
                  <a:pt x="4007268" y="2430686"/>
                </a:cubicBezTo>
                <a:cubicBezTo>
                  <a:pt x="4007101" y="2430633"/>
                  <a:pt x="4006932" y="2430628"/>
                  <a:pt x="4006763" y="2430623"/>
                </a:cubicBezTo>
                <a:lnTo>
                  <a:pt x="4006225" y="2423947"/>
                </a:lnTo>
                <a:cubicBezTo>
                  <a:pt x="4001166" y="2393697"/>
                  <a:pt x="3998715" y="2362806"/>
                  <a:pt x="3998757" y="2331471"/>
                </a:cubicBezTo>
                <a:cubicBezTo>
                  <a:pt x="3997445" y="2325843"/>
                  <a:pt x="3997387" y="2320176"/>
                  <a:pt x="3997387" y="2314495"/>
                </a:cubicBezTo>
                <a:lnTo>
                  <a:pt x="3997981" y="2303055"/>
                </a:lnTo>
                <a:lnTo>
                  <a:pt x="3998479" y="2303088"/>
                </a:lnTo>
                <a:close/>
                <a:moveTo>
                  <a:pt x="3975754" y="2302594"/>
                </a:moveTo>
                <a:lnTo>
                  <a:pt x="3975780" y="2303088"/>
                </a:lnTo>
                <a:lnTo>
                  <a:pt x="3976278" y="2303055"/>
                </a:lnTo>
                <a:lnTo>
                  <a:pt x="3976872" y="2314495"/>
                </a:lnTo>
                <a:cubicBezTo>
                  <a:pt x="3976872" y="2320176"/>
                  <a:pt x="3976813" y="2325843"/>
                  <a:pt x="3975501" y="2331471"/>
                </a:cubicBezTo>
                <a:cubicBezTo>
                  <a:pt x="3975543" y="2362806"/>
                  <a:pt x="3973093" y="2393697"/>
                  <a:pt x="3968034" y="2423947"/>
                </a:cubicBezTo>
                <a:lnTo>
                  <a:pt x="3967496" y="2430623"/>
                </a:lnTo>
                <a:cubicBezTo>
                  <a:pt x="3967326" y="2430628"/>
                  <a:pt x="3967158" y="2430633"/>
                  <a:pt x="3966990" y="2430686"/>
                </a:cubicBezTo>
                <a:cubicBezTo>
                  <a:pt x="3916715" y="2783551"/>
                  <a:pt x="3635676" y="3064328"/>
                  <a:pt x="3276825" y="3123727"/>
                </a:cubicBezTo>
                <a:lnTo>
                  <a:pt x="3276708" y="3124875"/>
                </a:lnTo>
                <a:cubicBezTo>
                  <a:pt x="3271398" y="3125886"/>
                  <a:pt x="3266069" y="3126834"/>
                  <a:pt x="3260492" y="3126415"/>
                </a:cubicBezTo>
                <a:cubicBezTo>
                  <a:pt x="3229320" y="3131969"/>
                  <a:pt x="3197440" y="3134950"/>
                  <a:pt x="3165065" y="3135477"/>
                </a:cubicBezTo>
                <a:lnTo>
                  <a:pt x="3147947" y="3137103"/>
                </a:lnTo>
                <a:lnTo>
                  <a:pt x="3147921" y="3136608"/>
                </a:lnTo>
                <a:lnTo>
                  <a:pt x="3147422" y="3136641"/>
                </a:lnTo>
                <a:cubicBezTo>
                  <a:pt x="3146856" y="3132839"/>
                  <a:pt x="3146829" y="3129023"/>
                  <a:pt x="3146829" y="3125201"/>
                </a:cubicBezTo>
                <a:cubicBezTo>
                  <a:pt x="3146829" y="3119519"/>
                  <a:pt x="3146887" y="3113850"/>
                  <a:pt x="3148199" y="3108220"/>
                </a:cubicBezTo>
                <a:cubicBezTo>
                  <a:pt x="3148157" y="3076892"/>
                  <a:pt x="3150607" y="3046007"/>
                  <a:pt x="3155663" y="3015763"/>
                </a:cubicBezTo>
                <a:lnTo>
                  <a:pt x="3156204" y="3009073"/>
                </a:lnTo>
                <a:cubicBezTo>
                  <a:pt x="3156372" y="3009068"/>
                  <a:pt x="3156542" y="3009063"/>
                  <a:pt x="3156709" y="3009010"/>
                </a:cubicBezTo>
                <a:cubicBezTo>
                  <a:pt x="3206986" y="2656144"/>
                  <a:pt x="3488025" y="2375367"/>
                  <a:pt x="3846875" y="2315969"/>
                </a:cubicBezTo>
                <a:lnTo>
                  <a:pt x="3846992" y="2314821"/>
                </a:lnTo>
                <a:cubicBezTo>
                  <a:pt x="3852301" y="2313811"/>
                  <a:pt x="3857629" y="2312863"/>
                  <a:pt x="3863205" y="2313282"/>
                </a:cubicBezTo>
                <a:cubicBezTo>
                  <a:pt x="3894388" y="2307725"/>
                  <a:pt x="3926281" y="2304744"/>
                  <a:pt x="3958666" y="2304217"/>
                </a:cubicBezTo>
                <a:close/>
                <a:moveTo>
                  <a:pt x="2306354" y="2302594"/>
                </a:moveTo>
                <a:lnTo>
                  <a:pt x="2323441" y="2304217"/>
                </a:lnTo>
                <a:cubicBezTo>
                  <a:pt x="2355827" y="2304744"/>
                  <a:pt x="2387719" y="2307725"/>
                  <a:pt x="2418903" y="2313282"/>
                </a:cubicBezTo>
                <a:cubicBezTo>
                  <a:pt x="2424479" y="2312863"/>
                  <a:pt x="2429807" y="2313811"/>
                  <a:pt x="2435115" y="2314821"/>
                </a:cubicBezTo>
                <a:lnTo>
                  <a:pt x="2435233" y="2315969"/>
                </a:lnTo>
                <a:cubicBezTo>
                  <a:pt x="2794083" y="2375367"/>
                  <a:pt x="3075122" y="2656144"/>
                  <a:pt x="3125398" y="3009010"/>
                </a:cubicBezTo>
                <a:cubicBezTo>
                  <a:pt x="3125566" y="3009063"/>
                  <a:pt x="3125735" y="3009068"/>
                  <a:pt x="3125904" y="3009073"/>
                </a:cubicBezTo>
                <a:lnTo>
                  <a:pt x="3126444" y="3015763"/>
                </a:lnTo>
                <a:cubicBezTo>
                  <a:pt x="3131501" y="3046007"/>
                  <a:pt x="3133950" y="3076892"/>
                  <a:pt x="3133908" y="3108220"/>
                </a:cubicBezTo>
                <a:cubicBezTo>
                  <a:pt x="3135220" y="3113850"/>
                  <a:pt x="3135279" y="3119519"/>
                  <a:pt x="3135279" y="3125201"/>
                </a:cubicBezTo>
                <a:cubicBezTo>
                  <a:pt x="3135279" y="3129023"/>
                  <a:pt x="3135252" y="3132839"/>
                  <a:pt x="3134686" y="3136641"/>
                </a:cubicBezTo>
                <a:lnTo>
                  <a:pt x="3134187" y="3136608"/>
                </a:lnTo>
                <a:lnTo>
                  <a:pt x="3134161" y="3137103"/>
                </a:lnTo>
                <a:lnTo>
                  <a:pt x="3117042" y="3135477"/>
                </a:lnTo>
                <a:cubicBezTo>
                  <a:pt x="3084668" y="3134950"/>
                  <a:pt x="3052788" y="3131969"/>
                  <a:pt x="3021616" y="3126415"/>
                </a:cubicBezTo>
                <a:cubicBezTo>
                  <a:pt x="3016039" y="3126834"/>
                  <a:pt x="3010710" y="3125886"/>
                  <a:pt x="3005399" y="3124875"/>
                </a:cubicBezTo>
                <a:lnTo>
                  <a:pt x="3005283" y="3123727"/>
                </a:lnTo>
                <a:cubicBezTo>
                  <a:pt x="2646432" y="3064328"/>
                  <a:pt x="2365393" y="2783551"/>
                  <a:pt x="2315117" y="2430686"/>
                </a:cubicBezTo>
                <a:cubicBezTo>
                  <a:pt x="2314950" y="2430633"/>
                  <a:pt x="2314781" y="2430628"/>
                  <a:pt x="2314612" y="2430623"/>
                </a:cubicBezTo>
                <a:lnTo>
                  <a:pt x="2314074" y="2423947"/>
                </a:lnTo>
                <a:cubicBezTo>
                  <a:pt x="2309015" y="2393697"/>
                  <a:pt x="2306564" y="2362806"/>
                  <a:pt x="2306606" y="2331471"/>
                </a:cubicBezTo>
                <a:cubicBezTo>
                  <a:pt x="2305294" y="2325843"/>
                  <a:pt x="2305236" y="2320176"/>
                  <a:pt x="2305236" y="2314495"/>
                </a:cubicBezTo>
                <a:lnTo>
                  <a:pt x="2305830" y="2303055"/>
                </a:lnTo>
                <a:lnTo>
                  <a:pt x="2306328" y="2303088"/>
                </a:lnTo>
                <a:close/>
                <a:moveTo>
                  <a:pt x="2283603" y="2302594"/>
                </a:moveTo>
                <a:lnTo>
                  <a:pt x="2283629" y="2303088"/>
                </a:lnTo>
                <a:lnTo>
                  <a:pt x="2284127" y="2303055"/>
                </a:lnTo>
                <a:lnTo>
                  <a:pt x="2284721" y="2314495"/>
                </a:lnTo>
                <a:cubicBezTo>
                  <a:pt x="2284721" y="2320176"/>
                  <a:pt x="2284662" y="2325843"/>
                  <a:pt x="2283350" y="2331471"/>
                </a:cubicBezTo>
                <a:cubicBezTo>
                  <a:pt x="2283392" y="2362806"/>
                  <a:pt x="2280942" y="2393697"/>
                  <a:pt x="2275883" y="2423947"/>
                </a:cubicBezTo>
                <a:lnTo>
                  <a:pt x="2275345" y="2430623"/>
                </a:lnTo>
                <a:cubicBezTo>
                  <a:pt x="2275175" y="2430628"/>
                  <a:pt x="2275007" y="2430633"/>
                  <a:pt x="2274839" y="2430686"/>
                </a:cubicBezTo>
                <a:cubicBezTo>
                  <a:pt x="2224564" y="2783551"/>
                  <a:pt x="1943525" y="3064328"/>
                  <a:pt x="1584673" y="3123727"/>
                </a:cubicBezTo>
                <a:lnTo>
                  <a:pt x="1584557" y="3124875"/>
                </a:lnTo>
                <a:cubicBezTo>
                  <a:pt x="1579247" y="3125886"/>
                  <a:pt x="1573918" y="3126834"/>
                  <a:pt x="1568341" y="3126415"/>
                </a:cubicBezTo>
                <a:cubicBezTo>
                  <a:pt x="1537169" y="3131969"/>
                  <a:pt x="1505289" y="3134950"/>
                  <a:pt x="1472914" y="3135477"/>
                </a:cubicBezTo>
                <a:lnTo>
                  <a:pt x="1455796" y="3137103"/>
                </a:lnTo>
                <a:lnTo>
                  <a:pt x="1455770" y="3136608"/>
                </a:lnTo>
                <a:lnTo>
                  <a:pt x="1455271" y="3136641"/>
                </a:lnTo>
                <a:cubicBezTo>
                  <a:pt x="1454705" y="3132839"/>
                  <a:pt x="1454678" y="3129023"/>
                  <a:pt x="1454678" y="3125201"/>
                </a:cubicBezTo>
                <a:cubicBezTo>
                  <a:pt x="1454678" y="3119519"/>
                  <a:pt x="1454736" y="3113850"/>
                  <a:pt x="1456048" y="3108220"/>
                </a:cubicBezTo>
                <a:cubicBezTo>
                  <a:pt x="1456006" y="3076892"/>
                  <a:pt x="1458456" y="3046007"/>
                  <a:pt x="1463513" y="3015763"/>
                </a:cubicBezTo>
                <a:lnTo>
                  <a:pt x="1464053" y="3009073"/>
                </a:lnTo>
                <a:cubicBezTo>
                  <a:pt x="1464221" y="3009068"/>
                  <a:pt x="1464391" y="3009063"/>
                  <a:pt x="1464558" y="3009010"/>
                </a:cubicBezTo>
                <a:cubicBezTo>
                  <a:pt x="1514835" y="2656144"/>
                  <a:pt x="1795874" y="2375367"/>
                  <a:pt x="2154724" y="2315969"/>
                </a:cubicBezTo>
                <a:lnTo>
                  <a:pt x="2154841" y="2314821"/>
                </a:lnTo>
                <a:cubicBezTo>
                  <a:pt x="2160150" y="2313811"/>
                  <a:pt x="2165478" y="2312863"/>
                  <a:pt x="2171054" y="2313282"/>
                </a:cubicBezTo>
                <a:cubicBezTo>
                  <a:pt x="2202237" y="2307725"/>
                  <a:pt x="2234130" y="2304744"/>
                  <a:pt x="2266515" y="2304217"/>
                </a:cubicBezTo>
                <a:close/>
                <a:moveTo>
                  <a:pt x="614203" y="2302594"/>
                </a:moveTo>
                <a:lnTo>
                  <a:pt x="631290" y="2304217"/>
                </a:lnTo>
                <a:cubicBezTo>
                  <a:pt x="663676" y="2304744"/>
                  <a:pt x="695568" y="2307725"/>
                  <a:pt x="726752" y="2313282"/>
                </a:cubicBezTo>
                <a:cubicBezTo>
                  <a:pt x="732328" y="2312863"/>
                  <a:pt x="737656" y="2313811"/>
                  <a:pt x="742964" y="2314821"/>
                </a:cubicBezTo>
                <a:lnTo>
                  <a:pt x="743081" y="2315969"/>
                </a:lnTo>
                <a:cubicBezTo>
                  <a:pt x="1101932" y="2375367"/>
                  <a:pt x="1382971" y="2656144"/>
                  <a:pt x="1433247" y="3009010"/>
                </a:cubicBezTo>
                <a:cubicBezTo>
                  <a:pt x="1433415" y="3009063"/>
                  <a:pt x="1433584" y="3009068"/>
                  <a:pt x="1433753" y="3009073"/>
                </a:cubicBezTo>
                <a:lnTo>
                  <a:pt x="1434293" y="3015763"/>
                </a:lnTo>
                <a:cubicBezTo>
                  <a:pt x="1439350" y="3046007"/>
                  <a:pt x="1441799" y="3076892"/>
                  <a:pt x="1441757" y="3108220"/>
                </a:cubicBezTo>
                <a:cubicBezTo>
                  <a:pt x="1443069" y="3113850"/>
                  <a:pt x="1443128" y="3119519"/>
                  <a:pt x="1443128" y="3125201"/>
                </a:cubicBezTo>
                <a:cubicBezTo>
                  <a:pt x="1443128" y="3129023"/>
                  <a:pt x="1443101" y="3132839"/>
                  <a:pt x="1442535" y="3136641"/>
                </a:cubicBezTo>
                <a:lnTo>
                  <a:pt x="1442036" y="3136608"/>
                </a:lnTo>
                <a:lnTo>
                  <a:pt x="1442010" y="3137103"/>
                </a:lnTo>
                <a:lnTo>
                  <a:pt x="1424891" y="3135477"/>
                </a:lnTo>
                <a:cubicBezTo>
                  <a:pt x="1392517" y="3134950"/>
                  <a:pt x="1360637" y="3131969"/>
                  <a:pt x="1329465" y="3126415"/>
                </a:cubicBezTo>
                <a:cubicBezTo>
                  <a:pt x="1323888" y="3126834"/>
                  <a:pt x="1318559" y="3125886"/>
                  <a:pt x="1313248" y="3124875"/>
                </a:cubicBezTo>
                <a:lnTo>
                  <a:pt x="1313132" y="3123727"/>
                </a:lnTo>
                <a:cubicBezTo>
                  <a:pt x="954281" y="3064328"/>
                  <a:pt x="673242" y="2783551"/>
                  <a:pt x="622966" y="2430686"/>
                </a:cubicBezTo>
                <a:cubicBezTo>
                  <a:pt x="622799" y="2430633"/>
                  <a:pt x="622630" y="2430628"/>
                  <a:pt x="622461" y="2430623"/>
                </a:cubicBezTo>
                <a:lnTo>
                  <a:pt x="621923" y="2423947"/>
                </a:lnTo>
                <a:cubicBezTo>
                  <a:pt x="616864" y="2393697"/>
                  <a:pt x="614413" y="2362806"/>
                  <a:pt x="614455" y="2331471"/>
                </a:cubicBezTo>
                <a:cubicBezTo>
                  <a:pt x="613143" y="2325843"/>
                  <a:pt x="613085" y="2320176"/>
                  <a:pt x="613085" y="2314495"/>
                </a:cubicBezTo>
                <a:lnTo>
                  <a:pt x="613679" y="2303055"/>
                </a:lnTo>
                <a:lnTo>
                  <a:pt x="614177" y="2303088"/>
                </a:lnTo>
                <a:close/>
                <a:moveTo>
                  <a:pt x="591452" y="2302594"/>
                </a:moveTo>
                <a:lnTo>
                  <a:pt x="591478" y="2303088"/>
                </a:lnTo>
                <a:lnTo>
                  <a:pt x="591976" y="2303055"/>
                </a:lnTo>
                <a:lnTo>
                  <a:pt x="592570" y="2314495"/>
                </a:lnTo>
                <a:cubicBezTo>
                  <a:pt x="592570" y="2320176"/>
                  <a:pt x="592511" y="2325843"/>
                  <a:pt x="591199" y="2331471"/>
                </a:cubicBezTo>
                <a:cubicBezTo>
                  <a:pt x="591242" y="2362806"/>
                  <a:pt x="588791" y="2393697"/>
                  <a:pt x="583732" y="2423947"/>
                </a:cubicBezTo>
                <a:lnTo>
                  <a:pt x="583194" y="2430623"/>
                </a:lnTo>
                <a:cubicBezTo>
                  <a:pt x="583024" y="2430628"/>
                  <a:pt x="582856" y="2430633"/>
                  <a:pt x="582689" y="2430686"/>
                </a:cubicBezTo>
                <a:cubicBezTo>
                  <a:pt x="537576" y="2747315"/>
                  <a:pt x="306662" y="3005901"/>
                  <a:pt x="0" y="3097101"/>
                </a:cubicBezTo>
                <a:lnTo>
                  <a:pt x="0" y="2964763"/>
                </a:lnTo>
                <a:cubicBezTo>
                  <a:pt x="229298" y="2881926"/>
                  <a:pt x="402181" y="2686530"/>
                  <a:pt x="449203" y="2447425"/>
                </a:cubicBezTo>
                <a:cubicBezTo>
                  <a:pt x="258971" y="2488309"/>
                  <a:pt x="97576" y="2603574"/>
                  <a:pt x="0" y="2761314"/>
                </a:cubicBezTo>
                <a:lnTo>
                  <a:pt x="0" y="2554520"/>
                </a:lnTo>
                <a:cubicBezTo>
                  <a:pt x="121484" y="2431613"/>
                  <a:pt x="282199" y="2345825"/>
                  <a:pt x="462573" y="2315969"/>
                </a:cubicBezTo>
                <a:lnTo>
                  <a:pt x="462690" y="2314821"/>
                </a:lnTo>
                <a:cubicBezTo>
                  <a:pt x="467999" y="2313811"/>
                  <a:pt x="473327" y="2312863"/>
                  <a:pt x="478903" y="2313282"/>
                </a:cubicBezTo>
                <a:cubicBezTo>
                  <a:pt x="510086" y="2307725"/>
                  <a:pt x="541979" y="2304744"/>
                  <a:pt x="574365" y="2304217"/>
                </a:cubicBezTo>
                <a:close/>
                <a:moveTo>
                  <a:pt x="11452667" y="1608087"/>
                </a:moveTo>
                <a:cubicBezTo>
                  <a:pt x="11177477" y="1666766"/>
                  <a:pt x="10962633" y="1879876"/>
                  <a:pt x="10909358" y="2148655"/>
                </a:cubicBezTo>
                <a:cubicBezTo>
                  <a:pt x="11184548" y="2089976"/>
                  <a:pt x="11399391" y="1876866"/>
                  <a:pt x="11452667" y="1608087"/>
                </a:cubicBezTo>
                <a:close/>
                <a:moveTo>
                  <a:pt x="10058800" y="1608087"/>
                </a:moveTo>
                <a:cubicBezTo>
                  <a:pt x="10112076" y="1876866"/>
                  <a:pt x="10326919" y="2089976"/>
                  <a:pt x="10602109" y="2148655"/>
                </a:cubicBezTo>
                <a:cubicBezTo>
                  <a:pt x="10548834" y="1879876"/>
                  <a:pt x="10333990" y="1666766"/>
                  <a:pt x="10058800" y="1608087"/>
                </a:cubicBezTo>
                <a:close/>
                <a:moveTo>
                  <a:pt x="9760514" y="1608087"/>
                </a:moveTo>
                <a:cubicBezTo>
                  <a:pt x="9485324" y="1666766"/>
                  <a:pt x="9270480" y="1879876"/>
                  <a:pt x="9217205" y="2148655"/>
                </a:cubicBezTo>
                <a:cubicBezTo>
                  <a:pt x="9492395" y="2089976"/>
                  <a:pt x="9707238" y="1876866"/>
                  <a:pt x="9760514" y="1608087"/>
                </a:cubicBezTo>
                <a:close/>
                <a:moveTo>
                  <a:pt x="8366649" y="1608087"/>
                </a:moveTo>
                <a:cubicBezTo>
                  <a:pt x="8419925" y="1876866"/>
                  <a:pt x="8634768" y="2089976"/>
                  <a:pt x="8909958" y="2148655"/>
                </a:cubicBezTo>
                <a:cubicBezTo>
                  <a:pt x="8856683" y="1879876"/>
                  <a:pt x="8641839" y="1666766"/>
                  <a:pt x="8366649" y="1608087"/>
                </a:cubicBezTo>
                <a:close/>
                <a:moveTo>
                  <a:pt x="8068363" y="1608087"/>
                </a:moveTo>
                <a:cubicBezTo>
                  <a:pt x="7793173" y="1666766"/>
                  <a:pt x="7578329" y="1879876"/>
                  <a:pt x="7525054" y="2148655"/>
                </a:cubicBezTo>
                <a:cubicBezTo>
                  <a:pt x="7800244" y="2089976"/>
                  <a:pt x="8015087" y="1876866"/>
                  <a:pt x="8068363" y="1608087"/>
                </a:cubicBezTo>
                <a:close/>
                <a:moveTo>
                  <a:pt x="6674498" y="1608087"/>
                </a:moveTo>
                <a:cubicBezTo>
                  <a:pt x="6727774" y="1876866"/>
                  <a:pt x="6942617" y="2089976"/>
                  <a:pt x="7217807" y="2148655"/>
                </a:cubicBezTo>
                <a:cubicBezTo>
                  <a:pt x="7164532" y="1879876"/>
                  <a:pt x="6949688" y="1666766"/>
                  <a:pt x="6674498" y="1608087"/>
                </a:cubicBezTo>
                <a:close/>
                <a:moveTo>
                  <a:pt x="6376212" y="1608087"/>
                </a:moveTo>
                <a:cubicBezTo>
                  <a:pt x="6101022" y="1666766"/>
                  <a:pt x="5886178" y="1879876"/>
                  <a:pt x="5832903" y="2148655"/>
                </a:cubicBezTo>
                <a:cubicBezTo>
                  <a:pt x="6108093" y="2089976"/>
                  <a:pt x="6322936" y="1876866"/>
                  <a:pt x="6376212" y="1608087"/>
                </a:cubicBezTo>
                <a:close/>
                <a:moveTo>
                  <a:pt x="4982347" y="1608087"/>
                </a:moveTo>
                <a:cubicBezTo>
                  <a:pt x="5035623" y="1876866"/>
                  <a:pt x="5250466" y="2089976"/>
                  <a:pt x="5525656" y="2148655"/>
                </a:cubicBezTo>
                <a:cubicBezTo>
                  <a:pt x="5472381" y="1879876"/>
                  <a:pt x="5257537" y="1666766"/>
                  <a:pt x="4982347" y="1608087"/>
                </a:cubicBezTo>
                <a:close/>
                <a:moveTo>
                  <a:pt x="4684061" y="1608087"/>
                </a:moveTo>
                <a:cubicBezTo>
                  <a:pt x="4408871" y="1666766"/>
                  <a:pt x="4194027" y="1879876"/>
                  <a:pt x="4140752" y="2148655"/>
                </a:cubicBezTo>
                <a:cubicBezTo>
                  <a:pt x="4415942" y="2089976"/>
                  <a:pt x="4630785" y="1876866"/>
                  <a:pt x="4684061" y="1608087"/>
                </a:cubicBezTo>
                <a:close/>
                <a:moveTo>
                  <a:pt x="3290196" y="1608087"/>
                </a:moveTo>
                <a:cubicBezTo>
                  <a:pt x="3343472" y="1876866"/>
                  <a:pt x="3558315" y="2089976"/>
                  <a:pt x="3833505" y="2148655"/>
                </a:cubicBezTo>
                <a:cubicBezTo>
                  <a:pt x="3780230" y="1879876"/>
                  <a:pt x="3565386" y="1666766"/>
                  <a:pt x="3290196" y="1608087"/>
                </a:cubicBezTo>
                <a:close/>
                <a:moveTo>
                  <a:pt x="2991910" y="1608087"/>
                </a:moveTo>
                <a:cubicBezTo>
                  <a:pt x="2716720" y="1666766"/>
                  <a:pt x="2501876" y="1879876"/>
                  <a:pt x="2448601" y="2148655"/>
                </a:cubicBezTo>
                <a:cubicBezTo>
                  <a:pt x="2723791" y="2089976"/>
                  <a:pt x="2938634" y="1876866"/>
                  <a:pt x="2991910" y="1608087"/>
                </a:cubicBezTo>
                <a:close/>
                <a:moveTo>
                  <a:pt x="1598045" y="1608087"/>
                </a:moveTo>
                <a:cubicBezTo>
                  <a:pt x="1651321" y="1876866"/>
                  <a:pt x="1866164" y="2089976"/>
                  <a:pt x="2141354" y="2148655"/>
                </a:cubicBezTo>
                <a:cubicBezTo>
                  <a:pt x="2088079" y="1879876"/>
                  <a:pt x="1873235" y="1666766"/>
                  <a:pt x="1598045" y="1608087"/>
                </a:cubicBezTo>
                <a:close/>
                <a:moveTo>
                  <a:pt x="1299759" y="1608087"/>
                </a:moveTo>
                <a:cubicBezTo>
                  <a:pt x="1024569" y="1666766"/>
                  <a:pt x="809725" y="1879876"/>
                  <a:pt x="756450" y="2148655"/>
                </a:cubicBezTo>
                <a:cubicBezTo>
                  <a:pt x="1031640" y="2089976"/>
                  <a:pt x="1246483" y="1876866"/>
                  <a:pt x="1299759" y="1608087"/>
                </a:cubicBezTo>
                <a:close/>
                <a:moveTo>
                  <a:pt x="0" y="1504081"/>
                </a:moveTo>
                <a:cubicBezTo>
                  <a:pt x="306658" y="1594561"/>
                  <a:pt x="537576" y="1851117"/>
                  <a:pt x="582690" y="2165262"/>
                </a:cubicBezTo>
                <a:cubicBezTo>
                  <a:pt x="582857" y="2165315"/>
                  <a:pt x="583026" y="2165320"/>
                  <a:pt x="583195" y="2165325"/>
                </a:cubicBezTo>
                <a:lnTo>
                  <a:pt x="583735" y="2171962"/>
                </a:lnTo>
                <a:cubicBezTo>
                  <a:pt x="588792" y="2201969"/>
                  <a:pt x="591242" y="2232611"/>
                  <a:pt x="591199" y="2263693"/>
                </a:cubicBezTo>
                <a:cubicBezTo>
                  <a:pt x="592511" y="2269279"/>
                  <a:pt x="592570" y="2274903"/>
                  <a:pt x="592570" y="2280541"/>
                </a:cubicBezTo>
                <a:cubicBezTo>
                  <a:pt x="592570" y="2284333"/>
                  <a:pt x="592543" y="2288119"/>
                  <a:pt x="591977" y="2291891"/>
                </a:cubicBezTo>
                <a:lnTo>
                  <a:pt x="591478" y="2291858"/>
                </a:lnTo>
                <a:lnTo>
                  <a:pt x="591452" y="2292349"/>
                </a:lnTo>
                <a:lnTo>
                  <a:pt x="574334" y="2290736"/>
                </a:lnTo>
                <a:cubicBezTo>
                  <a:pt x="541959" y="2290213"/>
                  <a:pt x="510079" y="2287255"/>
                  <a:pt x="478907" y="2281745"/>
                </a:cubicBezTo>
                <a:cubicBezTo>
                  <a:pt x="473330" y="2282161"/>
                  <a:pt x="468001" y="2281220"/>
                  <a:pt x="462690" y="2280217"/>
                </a:cubicBezTo>
                <a:lnTo>
                  <a:pt x="462574" y="2279078"/>
                </a:lnTo>
                <a:cubicBezTo>
                  <a:pt x="282200" y="2249456"/>
                  <a:pt x="121485" y="2164343"/>
                  <a:pt x="0" y="2042401"/>
                </a:cubicBezTo>
                <a:lnTo>
                  <a:pt x="0" y="1837231"/>
                </a:lnTo>
                <a:cubicBezTo>
                  <a:pt x="97584" y="1993737"/>
                  <a:pt x="258975" y="2108093"/>
                  <a:pt x="449203" y="2148655"/>
                </a:cubicBezTo>
                <a:cubicBezTo>
                  <a:pt x="402182" y="1911427"/>
                  <a:pt x="229297" y="1717565"/>
                  <a:pt x="0" y="1635380"/>
                </a:cubicBezTo>
                <a:close/>
                <a:moveTo>
                  <a:pt x="11608704" y="1464394"/>
                </a:moveTo>
                <a:lnTo>
                  <a:pt x="11625791" y="1466004"/>
                </a:lnTo>
                <a:cubicBezTo>
                  <a:pt x="11658177" y="1466527"/>
                  <a:pt x="11690070" y="1469485"/>
                  <a:pt x="11721253" y="1474998"/>
                </a:cubicBezTo>
                <a:cubicBezTo>
                  <a:pt x="11726829" y="1474582"/>
                  <a:pt x="11732157" y="1475523"/>
                  <a:pt x="11737466" y="1476525"/>
                </a:cubicBezTo>
                <a:lnTo>
                  <a:pt x="11737583" y="1477664"/>
                </a:lnTo>
                <a:cubicBezTo>
                  <a:pt x="11914088" y="1506650"/>
                  <a:pt x="12071767" y="1588774"/>
                  <a:pt x="12192000" y="1706842"/>
                </a:cubicBezTo>
                <a:lnTo>
                  <a:pt x="12192000" y="1906833"/>
                </a:lnTo>
                <a:cubicBezTo>
                  <a:pt x="12093732" y="1756811"/>
                  <a:pt x="11935983" y="1647542"/>
                  <a:pt x="11750953" y="1608088"/>
                </a:cubicBezTo>
                <a:cubicBezTo>
                  <a:pt x="11797422" y="1842524"/>
                  <a:pt x="11966808" y="2034608"/>
                  <a:pt x="12192000" y="2118654"/>
                </a:cubicBezTo>
                <a:lnTo>
                  <a:pt x="12192000" y="2250657"/>
                </a:lnTo>
                <a:cubicBezTo>
                  <a:pt x="11889465" y="2157681"/>
                  <a:pt x="11662185" y="1902872"/>
                  <a:pt x="11617468" y="1591480"/>
                </a:cubicBezTo>
                <a:cubicBezTo>
                  <a:pt x="11617300" y="1591427"/>
                  <a:pt x="11617132" y="1591423"/>
                  <a:pt x="11616962" y="1591418"/>
                </a:cubicBezTo>
                <a:lnTo>
                  <a:pt x="11616424" y="1584794"/>
                </a:lnTo>
                <a:cubicBezTo>
                  <a:pt x="11611365" y="1554782"/>
                  <a:pt x="11608914" y="1524133"/>
                  <a:pt x="11608957" y="1493044"/>
                </a:cubicBezTo>
                <a:cubicBezTo>
                  <a:pt x="11607645" y="1487460"/>
                  <a:pt x="11607586" y="1481838"/>
                  <a:pt x="11607586" y="1476202"/>
                </a:cubicBezTo>
                <a:lnTo>
                  <a:pt x="11608180" y="1464851"/>
                </a:lnTo>
                <a:lnTo>
                  <a:pt x="11608678" y="1464884"/>
                </a:lnTo>
                <a:close/>
                <a:moveTo>
                  <a:pt x="11594916" y="1464394"/>
                </a:moveTo>
                <a:lnTo>
                  <a:pt x="11594942" y="1464884"/>
                </a:lnTo>
                <a:lnTo>
                  <a:pt x="11595440" y="1464852"/>
                </a:lnTo>
                <a:lnTo>
                  <a:pt x="11596034" y="1476202"/>
                </a:lnTo>
                <a:cubicBezTo>
                  <a:pt x="11596034" y="1481838"/>
                  <a:pt x="11595975" y="1487460"/>
                  <a:pt x="11594663" y="1493044"/>
                </a:cubicBezTo>
                <a:cubicBezTo>
                  <a:pt x="11594706" y="1524133"/>
                  <a:pt x="11592255" y="1554782"/>
                  <a:pt x="11587196" y="1584794"/>
                </a:cubicBezTo>
                <a:lnTo>
                  <a:pt x="11586658" y="1591418"/>
                </a:lnTo>
                <a:cubicBezTo>
                  <a:pt x="11586488" y="1591423"/>
                  <a:pt x="11586320" y="1591427"/>
                  <a:pt x="11586152" y="1591480"/>
                </a:cubicBezTo>
                <a:cubicBezTo>
                  <a:pt x="11535877" y="1941574"/>
                  <a:pt x="11254838" y="2220146"/>
                  <a:pt x="10895987" y="2279078"/>
                </a:cubicBezTo>
                <a:lnTo>
                  <a:pt x="10895871" y="2280217"/>
                </a:lnTo>
                <a:cubicBezTo>
                  <a:pt x="10890560" y="2281220"/>
                  <a:pt x="10885231" y="2282161"/>
                  <a:pt x="10879654" y="2281745"/>
                </a:cubicBezTo>
                <a:cubicBezTo>
                  <a:pt x="10848482" y="2287255"/>
                  <a:pt x="10816602" y="2290213"/>
                  <a:pt x="10784227" y="2290736"/>
                </a:cubicBezTo>
                <a:lnTo>
                  <a:pt x="10767109" y="2292349"/>
                </a:lnTo>
                <a:lnTo>
                  <a:pt x="10767083" y="2291858"/>
                </a:lnTo>
                <a:lnTo>
                  <a:pt x="10766584" y="2291891"/>
                </a:lnTo>
                <a:cubicBezTo>
                  <a:pt x="10766018" y="2288119"/>
                  <a:pt x="10765991" y="2284333"/>
                  <a:pt x="10765991" y="2280541"/>
                </a:cubicBezTo>
                <a:cubicBezTo>
                  <a:pt x="10765991" y="2274903"/>
                  <a:pt x="10766050" y="2269279"/>
                  <a:pt x="10767362" y="2263693"/>
                </a:cubicBezTo>
                <a:cubicBezTo>
                  <a:pt x="10767319" y="2232611"/>
                  <a:pt x="10769769" y="2201969"/>
                  <a:pt x="10774826" y="2171962"/>
                </a:cubicBezTo>
                <a:lnTo>
                  <a:pt x="10775366" y="2165325"/>
                </a:lnTo>
                <a:cubicBezTo>
                  <a:pt x="10775535" y="2165320"/>
                  <a:pt x="10775704" y="2165315"/>
                  <a:pt x="10775872" y="2165262"/>
                </a:cubicBezTo>
                <a:cubicBezTo>
                  <a:pt x="10826148" y="1815167"/>
                  <a:pt x="11107187" y="1536596"/>
                  <a:pt x="11466037" y="1477664"/>
                </a:cubicBezTo>
                <a:lnTo>
                  <a:pt x="11466154" y="1476525"/>
                </a:lnTo>
                <a:cubicBezTo>
                  <a:pt x="11471463" y="1475523"/>
                  <a:pt x="11476791" y="1474582"/>
                  <a:pt x="11482367" y="1474998"/>
                </a:cubicBezTo>
                <a:cubicBezTo>
                  <a:pt x="11513550" y="1469485"/>
                  <a:pt x="11545443" y="1466527"/>
                  <a:pt x="11577829" y="1466004"/>
                </a:cubicBezTo>
                <a:close/>
                <a:moveTo>
                  <a:pt x="9916551" y="1464394"/>
                </a:moveTo>
                <a:lnTo>
                  <a:pt x="9933638" y="1466004"/>
                </a:lnTo>
                <a:cubicBezTo>
                  <a:pt x="9966024" y="1466527"/>
                  <a:pt x="9997917" y="1469485"/>
                  <a:pt x="10029100" y="1474998"/>
                </a:cubicBezTo>
                <a:cubicBezTo>
                  <a:pt x="10034676" y="1474582"/>
                  <a:pt x="10040004" y="1475523"/>
                  <a:pt x="10045313" y="1476525"/>
                </a:cubicBezTo>
                <a:lnTo>
                  <a:pt x="10045430" y="1477664"/>
                </a:lnTo>
                <a:cubicBezTo>
                  <a:pt x="10404280" y="1536596"/>
                  <a:pt x="10685319" y="1815167"/>
                  <a:pt x="10735596" y="2165262"/>
                </a:cubicBezTo>
                <a:cubicBezTo>
                  <a:pt x="10735763" y="2165315"/>
                  <a:pt x="10735932" y="2165320"/>
                  <a:pt x="10736101" y="2165325"/>
                </a:cubicBezTo>
                <a:lnTo>
                  <a:pt x="10736641" y="2171962"/>
                </a:lnTo>
                <a:cubicBezTo>
                  <a:pt x="10741698" y="2201969"/>
                  <a:pt x="10744148" y="2232611"/>
                  <a:pt x="10744105" y="2263693"/>
                </a:cubicBezTo>
                <a:cubicBezTo>
                  <a:pt x="10745417" y="2269279"/>
                  <a:pt x="10745476" y="2274903"/>
                  <a:pt x="10745476" y="2280541"/>
                </a:cubicBezTo>
                <a:cubicBezTo>
                  <a:pt x="10745476" y="2284333"/>
                  <a:pt x="10745449" y="2288119"/>
                  <a:pt x="10744883" y="2291891"/>
                </a:cubicBezTo>
                <a:lnTo>
                  <a:pt x="10744384" y="2291858"/>
                </a:lnTo>
                <a:lnTo>
                  <a:pt x="10744358" y="2292349"/>
                </a:lnTo>
                <a:lnTo>
                  <a:pt x="10727240" y="2290736"/>
                </a:lnTo>
                <a:cubicBezTo>
                  <a:pt x="10694865" y="2290213"/>
                  <a:pt x="10662985" y="2287255"/>
                  <a:pt x="10631813" y="2281745"/>
                </a:cubicBezTo>
                <a:cubicBezTo>
                  <a:pt x="10626236" y="2282161"/>
                  <a:pt x="10620907" y="2281220"/>
                  <a:pt x="10615596" y="2280217"/>
                </a:cubicBezTo>
                <a:lnTo>
                  <a:pt x="10615480" y="2279078"/>
                </a:lnTo>
                <a:cubicBezTo>
                  <a:pt x="10256629" y="2220146"/>
                  <a:pt x="9975590" y="1941574"/>
                  <a:pt x="9925315" y="1591480"/>
                </a:cubicBezTo>
                <a:cubicBezTo>
                  <a:pt x="9925147" y="1591427"/>
                  <a:pt x="9924979" y="1591423"/>
                  <a:pt x="9924809" y="1591418"/>
                </a:cubicBezTo>
                <a:lnTo>
                  <a:pt x="9924271" y="1584794"/>
                </a:lnTo>
                <a:cubicBezTo>
                  <a:pt x="9919212" y="1554782"/>
                  <a:pt x="9916761" y="1524133"/>
                  <a:pt x="9916804" y="1493044"/>
                </a:cubicBezTo>
                <a:cubicBezTo>
                  <a:pt x="9915492" y="1487460"/>
                  <a:pt x="9915433" y="1481838"/>
                  <a:pt x="9915433" y="1476202"/>
                </a:cubicBezTo>
                <a:lnTo>
                  <a:pt x="9916027" y="1464852"/>
                </a:lnTo>
                <a:lnTo>
                  <a:pt x="9916525" y="1464884"/>
                </a:lnTo>
                <a:close/>
                <a:moveTo>
                  <a:pt x="9902763" y="1464394"/>
                </a:moveTo>
                <a:lnTo>
                  <a:pt x="9902789" y="1464884"/>
                </a:lnTo>
                <a:lnTo>
                  <a:pt x="9903287" y="1464852"/>
                </a:lnTo>
                <a:lnTo>
                  <a:pt x="9903881" y="1476202"/>
                </a:lnTo>
                <a:cubicBezTo>
                  <a:pt x="9903881" y="1481838"/>
                  <a:pt x="9903822" y="1487460"/>
                  <a:pt x="9902510" y="1493044"/>
                </a:cubicBezTo>
                <a:cubicBezTo>
                  <a:pt x="9902553" y="1524133"/>
                  <a:pt x="9900102" y="1554782"/>
                  <a:pt x="9895043" y="1584794"/>
                </a:cubicBezTo>
                <a:lnTo>
                  <a:pt x="9894505" y="1591418"/>
                </a:lnTo>
                <a:cubicBezTo>
                  <a:pt x="9894335" y="1591423"/>
                  <a:pt x="9894167" y="1591427"/>
                  <a:pt x="9893999" y="1591480"/>
                </a:cubicBezTo>
                <a:cubicBezTo>
                  <a:pt x="9843724" y="1941574"/>
                  <a:pt x="9562685" y="2220146"/>
                  <a:pt x="9203834" y="2279078"/>
                </a:cubicBezTo>
                <a:lnTo>
                  <a:pt x="9203718" y="2280217"/>
                </a:lnTo>
                <a:cubicBezTo>
                  <a:pt x="9198407" y="2281220"/>
                  <a:pt x="9193078" y="2282161"/>
                  <a:pt x="9187501" y="2281745"/>
                </a:cubicBezTo>
                <a:cubicBezTo>
                  <a:pt x="9156329" y="2287255"/>
                  <a:pt x="9124449" y="2290213"/>
                  <a:pt x="9092074" y="2290736"/>
                </a:cubicBezTo>
                <a:lnTo>
                  <a:pt x="9074956" y="2292349"/>
                </a:lnTo>
                <a:lnTo>
                  <a:pt x="9074930" y="2291858"/>
                </a:lnTo>
                <a:lnTo>
                  <a:pt x="9074431" y="2291891"/>
                </a:lnTo>
                <a:cubicBezTo>
                  <a:pt x="9073865" y="2288119"/>
                  <a:pt x="9073838" y="2284333"/>
                  <a:pt x="9073838" y="2280541"/>
                </a:cubicBezTo>
                <a:cubicBezTo>
                  <a:pt x="9073838" y="2274903"/>
                  <a:pt x="9073897" y="2269279"/>
                  <a:pt x="9075209" y="2263693"/>
                </a:cubicBezTo>
                <a:cubicBezTo>
                  <a:pt x="9075166" y="2232611"/>
                  <a:pt x="9077616" y="2201969"/>
                  <a:pt x="9082673" y="2171962"/>
                </a:cubicBezTo>
                <a:lnTo>
                  <a:pt x="9083213" y="2165325"/>
                </a:lnTo>
                <a:cubicBezTo>
                  <a:pt x="9083382" y="2165320"/>
                  <a:pt x="9083551" y="2165315"/>
                  <a:pt x="9083718" y="2165262"/>
                </a:cubicBezTo>
                <a:cubicBezTo>
                  <a:pt x="9133995" y="1815167"/>
                  <a:pt x="9415034" y="1536596"/>
                  <a:pt x="9773884" y="1477664"/>
                </a:cubicBezTo>
                <a:lnTo>
                  <a:pt x="9774001" y="1476525"/>
                </a:lnTo>
                <a:cubicBezTo>
                  <a:pt x="9779310" y="1475523"/>
                  <a:pt x="9784638" y="1474582"/>
                  <a:pt x="9790214" y="1474998"/>
                </a:cubicBezTo>
                <a:cubicBezTo>
                  <a:pt x="9821397" y="1469485"/>
                  <a:pt x="9853290" y="1466527"/>
                  <a:pt x="9885676" y="1466004"/>
                </a:cubicBezTo>
                <a:close/>
                <a:moveTo>
                  <a:pt x="8224400" y="1464394"/>
                </a:moveTo>
                <a:lnTo>
                  <a:pt x="8241488" y="1466004"/>
                </a:lnTo>
                <a:cubicBezTo>
                  <a:pt x="8273873" y="1466527"/>
                  <a:pt x="8305766" y="1469485"/>
                  <a:pt x="8336949" y="1474998"/>
                </a:cubicBezTo>
                <a:cubicBezTo>
                  <a:pt x="8342525" y="1474582"/>
                  <a:pt x="8347853" y="1475523"/>
                  <a:pt x="8353162" y="1476525"/>
                </a:cubicBezTo>
                <a:lnTo>
                  <a:pt x="8353279" y="1477664"/>
                </a:lnTo>
                <a:cubicBezTo>
                  <a:pt x="8712129" y="1536596"/>
                  <a:pt x="8993168" y="1815167"/>
                  <a:pt x="9043444" y="2165262"/>
                </a:cubicBezTo>
                <a:cubicBezTo>
                  <a:pt x="9043612" y="2165315"/>
                  <a:pt x="9043781" y="2165320"/>
                  <a:pt x="9043950" y="2165325"/>
                </a:cubicBezTo>
                <a:lnTo>
                  <a:pt x="9044490" y="2171962"/>
                </a:lnTo>
                <a:cubicBezTo>
                  <a:pt x="9049547" y="2201969"/>
                  <a:pt x="9051997" y="2232611"/>
                  <a:pt x="9051954" y="2263693"/>
                </a:cubicBezTo>
                <a:cubicBezTo>
                  <a:pt x="9053266" y="2269279"/>
                  <a:pt x="9053325" y="2274903"/>
                  <a:pt x="9053325" y="2280541"/>
                </a:cubicBezTo>
                <a:cubicBezTo>
                  <a:pt x="9053325" y="2284333"/>
                  <a:pt x="9053298" y="2288119"/>
                  <a:pt x="9052732" y="2291891"/>
                </a:cubicBezTo>
                <a:lnTo>
                  <a:pt x="9052233" y="2291858"/>
                </a:lnTo>
                <a:lnTo>
                  <a:pt x="9052207" y="2292349"/>
                </a:lnTo>
                <a:lnTo>
                  <a:pt x="9035089" y="2290736"/>
                </a:lnTo>
                <a:cubicBezTo>
                  <a:pt x="9002714" y="2290213"/>
                  <a:pt x="8970834" y="2287255"/>
                  <a:pt x="8939662" y="2281745"/>
                </a:cubicBezTo>
                <a:cubicBezTo>
                  <a:pt x="8934085" y="2282161"/>
                  <a:pt x="8928756" y="2281220"/>
                  <a:pt x="8923445" y="2280217"/>
                </a:cubicBezTo>
                <a:lnTo>
                  <a:pt x="8923329" y="2279078"/>
                </a:lnTo>
                <a:cubicBezTo>
                  <a:pt x="8564478" y="2220146"/>
                  <a:pt x="8283439" y="1941574"/>
                  <a:pt x="8233164" y="1591480"/>
                </a:cubicBezTo>
                <a:cubicBezTo>
                  <a:pt x="8232996" y="1591427"/>
                  <a:pt x="8232828" y="1591423"/>
                  <a:pt x="8232658" y="1591418"/>
                </a:cubicBezTo>
                <a:lnTo>
                  <a:pt x="8232120" y="1584794"/>
                </a:lnTo>
                <a:cubicBezTo>
                  <a:pt x="8227061" y="1554782"/>
                  <a:pt x="8224611" y="1524133"/>
                  <a:pt x="8224653" y="1493044"/>
                </a:cubicBezTo>
                <a:cubicBezTo>
                  <a:pt x="8223341" y="1487460"/>
                  <a:pt x="8223282" y="1481838"/>
                  <a:pt x="8223282" y="1476202"/>
                </a:cubicBezTo>
                <a:lnTo>
                  <a:pt x="8223876" y="1464852"/>
                </a:lnTo>
                <a:lnTo>
                  <a:pt x="8224374" y="1464884"/>
                </a:lnTo>
                <a:close/>
                <a:moveTo>
                  <a:pt x="8210612" y="1464394"/>
                </a:moveTo>
                <a:lnTo>
                  <a:pt x="8210638" y="1464884"/>
                </a:lnTo>
                <a:lnTo>
                  <a:pt x="8211136" y="1464852"/>
                </a:lnTo>
                <a:lnTo>
                  <a:pt x="8211730" y="1476202"/>
                </a:lnTo>
                <a:cubicBezTo>
                  <a:pt x="8211730" y="1481838"/>
                  <a:pt x="8211672" y="1487460"/>
                  <a:pt x="8210360" y="1493044"/>
                </a:cubicBezTo>
                <a:cubicBezTo>
                  <a:pt x="8210402" y="1524133"/>
                  <a:pt x="8207951" y="1554782"/>
                  <a:pt x="8202893" y="1584794"/>
                </a:cubicBezTo>
                <a:lnTo>
                  <a:pt x="8202354" y="1591418"/>
                </a:lnTo>
                <a:cubicBezTo>
                  <a:pt x="8202185" y="1591423"/>
                  <a:pt x="8202016" y="1591427"/>
                  <a:pt x="8201849" y="1591480"/>
                </a:cubicBezTo>
                <a:cubicBezTo>
                  <a:pt x="8151573" y="1941574"/>
                  <a:pt x="7870534" y="2220146"/>
                  <a:pt x="7511683" y="2279078"/>
                </a:cubicBezTo>
                <a:lnTo>
                  <a:pt x="7511567" y="2280217"/>
                </a:lnTo>
                <a:cubicBezTo>
                  <a:pt x="7506256" y="2281220"/>
                  <a:pt x="7500927" y="2282161"/>
                  <a:pt x="7495350" y="2281745"/>
                </a:cubicBezTo>
                <a:cubicBezTo>
                  <a:pt x="7464178" y="2287255"/>
                  <a:pt x="7432298" y="2290213"/>
                  <a:pt x="7399924" y="2290736"/>
                </a:cubicBezTo>
                <a:lnTo>
                  <a:pt x="7382805" y="2292349"/>
                </a:lnTo>
                <a:lnTo>
                  <a:pt x="7382779" y="2291858"/>
                </a:lnTo>
                <a:lnTo>
                  <a:pt x="7382280" y="2291891"/>
                </a:lnTo>
                <a:cubicBezTo>
                  <a:pt x="7381714" y="2288119"/>
                  <a:pt x="7381687" y="2284333"/>
                  <a:pt x="7381687" y="2280541"/>
                </a:cubicBezTo>
                <a:cubicBezTo>
                  <a:pt x="7381687" y="2274903"/>
                  <a:pt x="7381746" y="2269279"/>
                  <a:pt x="7383058" y="2263693"/>
                </a:cubicBezTo>
                <a:cubicBezTo>
                  <a:pt x="7383016" y="2232611"/>
                  <a:pt x="7385465" y="2201969"/>
                  <a:pt x="7390522" y="2171962"/>
                </a:cubicBezTo>
                <a:lnTo>
                  <a:pt x="7391062" y="2165325"/>
                </a:lnTo>
                <a:cubicBezTo>
                  <a:pt x="7391231" y="2165320"/>
                  <a:pt x="7391400" y="2165315"/>
                  <a:pt x="7391568" y="2165262"/>
                </a:cubicBezTo>
                <a:cubicBezTo>
                  <a:pt x="7441844" y="1815167"/>
                  <a:pt x="7722883" y="1536596"/>
                  <a:pt x="8081734" y="1477664"/>
                </a:cubicBezTo>
                <a:lnTo>
                  <a:pt x="8081851" y="1476525"/>
                </a:lnTo>
                <a:cubicBezTo>
                  <a:pt x="8087159" y="1475523"/>
                  <a:pt x="8092487" y="1474582"/>
                  <a:pt x="8098063" y="1474998"/>
                </a:cubicBezTo>
                <a:cubicBezTo>
                  <a:pt x="8129247" y="1469485"/>
                  <a:pt x="8161139" y="1466527"/>
                  <a:pt x="8193525" y="1466004"/>
                </a:cubicBezTo>
                <a:close/>
                <a:moveTo>
                  <a:pt x="6532249" y="1464394"/>
                </a:moveTo>
                <a:lnTo>
                  <a:pt x="6549337" y="1466004"/>
                </a:lnTo>
                <a:cubicBezTo>
                  <a:pt x="6581722" y="1466527"/>
                  <a:pt x="6613615" y="1469485"/>
                  <a:pt x="6644798" y="1474998"/>
                </a:cubicBezTo>
                <a:cubicBezTo>
                  <a:pt x="6650374" y="1474582"/>
                  <a:pt x="6655702" y="1475523"/>
                  <a:pt x="6661011" y="1476525"/>
                </a:cubicBezTo>
                <a:lnTo>
                  <a:pt x="6661128" y="1477664"/>
                </a:lnTo>
                <a:cubicBezTo>
                  <a:pt x="7019978" y="1536596"/>
                  <a:pt x="7301017" y="1815167"/>
                  <a:pt x="7351294" y="2165262"/>
                </a:cubicBezTo>
                <a:cubicBezTo>
                  <a:pt x="7351461" y="2165315"/>
                  <a:pt x="7351631" y="2165320"/>
                  <a:pt x="7351799" y="2165325"/>
                </a:cubicBezTo>
                <a:lnTo>
                  <a:pt x="7352340" y="2171962"/>
                </a:lnTo>
                <a:cubicBezTo>
                  <a:pt x="7357396" y="2201969"/>
                  <a:pt x="7359846" y="2232611"/>
                  <a:pt x="7359804" y="2263693"/>
                </a:cubicBezTo>
                <a:cubicBezTo>
                  <a:pt x="7361116" y="2269279"/>
                  <a:pt x="7361174" y="2274903"/>
                  <a:pt x="7361174" y="2280541"/>
                </a:cubicBezTo>
                <a:cubicBezTo>
                  <a:pt x="7361174" y="2284333"/>
                  <a:pt x="7361147" y="2288119"/>
                  <a:pt x="7360581" y="2291891"/>
                </a:cubicBezTo>
                <a:lnTo>
                  <a:pt x="7360082" y="2291858"/>
                </a:lnTo>
                <a:lnTo>
                  <a:pt x="7360056" y="2292349"/>
                </a:lnTo>
                <a:lnTo>
                  <a:pt x="7342938" y="2290736"/>
                </a:lnTo>
                <a:cubicBezTo>
                  <a:pt x="7310564" y="2290213"/>
                  <a:pt x="7278683" y="2287255"/>
                  <a:pt x="7247511" y="2281745"/>
                </a:cubicBezTo>
                <a:cubicBezTo>
                  <a:pt x="7241934" y="2282161"/>
                  <a:pt x="7236605" y="2281220"/>
                  <a:pt x="7231295" y="2280217"/>
                </a:cubicBezTo>
                <a:lnTo>
                  <a:pt x="7231179" y="2279078"/>
                </a:lnTo>
                <a:cubicBezTo>
                  <a:pt x="6872327" y="2220146"/>
                  <a:pt x="6591288" y="1941574"/>
                  <a:pt x="6541013" y="1591480"/>
                </a:cubicBezTo>
                <a:cubicBezTo>
                  <a:pt x="6540845" y="1591427"/>
                  <a:pt x="6540677" y="1591423"/>
                  <a:pt x="6540507" y="1591418"/>
                </a:cubicBezTo>
                <a:lnTo>
                  <a:pt x="6539969" y="1584794"/>
                </a:lnTo>
                <a:cubicBezTo>
                  <a:pt x="6534910" y="1554782"/>
                  <a:pt x="6532460" y="1524133"/>
                  <a:pt x="6532502" y="1493044"/>
                </a:cubicBezTo>
                <a:cubicBezTo>
                  <a:pt x="6531190" y="1487460"/>
                  <a:pt x="6531131" y="1481838"/>
                  <a:pt x="6531131" y="1476202"/>
                </a:cubicBezTo>
                <a:lnTo>
                  <a:pt x="6531725" y="1464852"/>
                </a:lnTo>
                <a:lnTo>
                  <a:pt x="6532223" y="1464884"/>
                </a:lnTo>
                <a:close/>
                <a:moveTo>
                  <a:pt x="6518461" y="1464394"/>
                </a:moveTo>
                <a:lnTo>
                  <a:pt x="6518487" y="1464884"/>
                </a:lnTo>
                <a:lnTo>
                  <a:pt x="6518985" y="1464852"/>
                </a:lnTo>
                <a:lnTo>
                  <a:pt x="6519579" y="1476202"/>
                </a:lnTo>
                <a:cubicBezTo>
                  <a:pt x="6519579" y="1481838"/>
                  <a:pt x="6519520" y="1487460"/>
                  <a:pt x="6518208" y="1493044"/>
                </a:cubicBezTo>
                <a:cubicBezTo>
                  <a:pt x="6518250" y="1524133"/>
                  <a:pt x="6515800" y="1554782"/>
                  <a:pt x="6510741" y="1584794"/>
                </a:cubicBezTo>
                <a:lnTo>
                  <a:pt x="6510203" y="1591418"/>
                </a:lnTo>
                <a:cubicBezTo>
                  <a:pt x="6510033" y="1591423"/>
                  <a:pt x="6509865" y="1591427"/>
                  <a:pt x="6509697" y="1591480"/>
                </a:cubicBezTo>
                <a:cubicBezTo>
                  <a:pt x="6459422" y="1941574"/>
                  <a:pt x="6178383" y="2220146"/>
                  <a:pt x="5819531" y="2279078"/>
                </a:cubicBezTo>
                <a:lnTo>
                  <a:pt x="5819415" y="2280217"/>
                </a:lnTo>
                <a:cubicBezTo>
                  <a:pt x="5814105" y="2281220"/>
                  <a:pt x="5808776" y="2282161"/>
                  <a:pt x="5803199" y="2281745"/>
                </a:cubicBezTo>
                <a:cubicBezTo>
                  <a:pt x="5772027" y="2287255"/>
                  <a:pt x="5740146" y="2290213"/>
                  <a:pt x="5707772" y="2290736"/>
                </a:cubicBezTo>
                <a:lnTo>
                  <a:pt x="5690654" y="2292349"/>
                </a:lnTo>
                <a:lnTo>
                  <a:pt x="5690628" y="2291858"/>
                </a:lnTo>
                <a:lnTo>
                  <a:pt x="5690129" y="2291891"/>
                </a:lnTo>
                <a:cubicBezTo>
                  <a:pt x="5689563" y="2288119"/>
                  <a:pt x="5689536" y="2284333"/>
                  <a:pt x="5689536" y="2280541"/>
                </a:cubicBezTo>
                <a:cubicBezTo>
                  <a:pt x="5689536" y="2274903"/>
                  <a:pt x="5689594" y="2269279"/>
                  <a:pt x="5690906" y="2263693"/>
                </a:cubicBezTo>
                <a:cubicBezTo>
                  <a:pt x="5690864" y="2232611"/>
                  <a:pt x="5693314" y="2201969"/>
                  <a:pt x="5698370" y="2171962"/>
                </a:cubicBezTo>
                <a:lnTo>
                  <a:pt x="5698911" y="2165325"/>
                </a:lnTo>
                <a:cubicBezTo>
                  <a:pt x="5699079" y="2165320"/>
                  <a:pt x="5699249" y="2165315"/>
                  <a:pt x="5699416" y="2165262"/>
                </a:cubicBezTo>
                <a:cubicBezTo>
                  <a:pt x="5749693" y="1815167"/>
                  <a:pt x="6030732" y="1536596"/>
                  <a:pt x="6389582" y="1477664"/>
                </a:cubicBezTo>
                <a:lnTo>
                  <a:pt x="6389699" y="1476525"/>
                </a:lnTo>
                <a:cubicBezTo>
                  <a:pt x="6395008" y="1475523"/>
                  <a:pt x="6400336" y="1474582"/>
                  <a:pt x="6405912" y="1474998"/>
                </a:cubicBezTo>
                <a:cubicBezTo>
                  <a:pt x="6437095" y="1469485"/>
                  <a:pt x="6468988" y="1466527"/>
                  <a:pt x="6501373" y="1466004"/>
                </a:cubicBezTo>
                <a:close/>
                <a:moveTo>
                  <a:pt x="4840098" y="1464394"/>
                </a:moveTo>
                <a:lnTo>
                  <a:pt x="4857185" y="1466004"/>
                </a:lnTo>
                <a:cubicBezTo>
                  <a:pt x="4889571" y="1466527"/>
                  <a:pt x="4921463" y="1469485"/>
                  <a:pt x="4952647" y="1474998"/>
                </a:cubicBezTo>
                <a:cubicBezTo>
                  <a:pt x="4958223" y="1474582"/>
                  <a:pt x="4963551" y="1475523"/>
                  <a:pt x="4968859" y="1476525"/>
                </a:cubicBezTo>
                <a:lnTo>
                  <a:pt x="4968976" y="1477664"/>
                </a:lnTo>
                <a:cubicBezTo>
                  <a:pt x="5327827" y="1536596"/>
                  <a:pt x="5608866" y="1815167"/>
                  <a:pt x="5659142" y="2165262"/>
                </a:cubicBezTo>
                <a:cubicBezTo>
                  <a:pt x="5659310" y="2165315"/>
                  <a:pt x="5659479" y="2165320"/>
                  <a:pt x="5659648" y="2165325"/>
                </a:cubicBezTo>
                <a:lnTo>
                  <a:pt x="5660188" y="2171962"/>
                </a:lnTo>
                <a:cubicBezTo>
                  <a:pt x="5665245" y="2201969"/>
                  <a:pt x="5667694" y="2232611"/>
                  <a:pt x="5667652" y="2263693"/>
                </a:cubicBezTo>
                <a:cubicBezTo>
                  <a:pt x="5668964" y="2269279"/>
                  <a:pt x="5669023" y="2274903"/>
                  <a:pt x="5669023" y="2280541"/>
                </a:cubicBezTo>
                <a:cubicBezTo>
                  <a:pt x="5669023" y="2284333"/>
                  <a:pt x="5668996" y="2288119"/>
                  <a:pt x="5668430" y="2291891"/>
                </a:cubicBezTo>
                <a:lnTo>
                  <a:pt x="5667931" y="2291858"/>
                </a:lnTo>
                <a:lnTo>
                  <a:pt x="5667905" y="2292349"/>
                </a:lnTo>
                <a:lnTo>
                  <a:pt x="5650786" y="2290736"/>
                </a:lnTo>
                <a:cubicBezTo>
                  <a:pt x="5618412" y="2290213"/>
                  <a:pt x="5586532" y="2287255"/>
                  <a:pt x="5555360" y="2281745"/>
                </a:cubicBezTo>
                <a:cubicBezTo>
                  <a:pt x="5549783" y="2282161"/>
                  <a:pt x="5544454" y="2281220"/>
                  <a:pt x="5539143" y="2280217"/>
                </a:cubicBezTo>
                <a:lnTo>
                  <a:pt x="5539027" y="2279078"/>
                </a:lnTo>
                <a:cubicBezTo>
                  <a:pt x="5180176" y="2220146"/>
                  <a:pt x="4899137" y="1941574"/>
                  <a:pt x="4848861" y="1591480"/>
                </a:cubicBezTo>
                <a:cubicBezTo>
                  <a:pt x="4848694" y="1591427"/>
                  <a:pt x="4848525" y="1591423"/>
                  <a:pt x="4848356" y="1591418"/>
                </a:cubicBezTo>
                <a:lnTo>
                  <a:pt x="4847817" y="1584794"/>
                </a:lnTo>
                <a:cubicBezTo>
                  <a:pt x="4842759" y="1554782"/>
                  <a:pt x="4840308" y="1524133"/>
                  <a:pt x="4840350" y="1493044"/>
                </a:cubicBezTo>
                <a:cubicBezTo>
                  <a:pt x="4839038" y="1487460"/>
                  <a:pt x="4838980" y="1481838"/>
                  <a:pt x="4838980" y="1476202"/>
                </a:cubicBezTo>
                <a:lnTo>
                  <a:pt x="4839574" y="1464852"/>
                </a:lnTo>
                <a:lnTo>
                  <a:pt x="4840072" y="1464884"/>
                </a:lnTo>
                <a:close/>
                <a:moveTo>
                  <a:pt x="4826310" y="1464394"/>
                </a:moveTo>
                <a:lnTo>
                  <a:pt x="4826336" y="1464884"/>
                </a:lnTo>
                <a:lnTo>
                  <a:pt x="4826834" y="1464852"/>
                </a:lnTo>
                <a:lnTo>
                  <a:pt x="4827428" y="1476202"/>
                </a:lnTo>
                <a:cubicBezTo>
                  <a:pt x="4827428" y="1481838"/>
                  <a:pt x="4827369" y="1487460"/>
                  <a:pt x="4826057" y="1493044"/>
                </a:cubicBezTo>
                <a:cubicBezTo>
                  <a:pt x="4826099" y="1524133"/>
                  <a:pt x="4823649" y="1554782"/>
                  <a:pt x="4818590" y="1584794"/>
                </a:cubicBezTo>
                <a:lnTo>
                  <a:pt x="4818052" y="1591418"/>
                </a:lnTo>
                <a:cubicBezTo>
                  <a:pt x="4817882" y="1591423"/>
                  <a:pt x="4817714" y="1591427"/>
                  <a:pt x="4817546" y="1591480"/>
                </a:cubicBezTo>
                <a:cubicBezTo>
                  <a:pt x="4767271" y="1941574"/>
                  <a:pt x="4486232" y="2220146"/>
                  <a:pt x="4127381" y="2279078"/>
                </a:cubicBezTo>
                <a:lnTo>
                  <a:pt x="4127264" y="2280217"/>
                </a:lnTo>
                <a:cubicBezTo>
                  <a:pt x="4121954" y="2281220"/>
                  <a:pt x="4116625" y="2282161"/>
                  <a:pt x="4111048" y="2281745"/>
                </a:cubicBezTo>
                <a:cubicBezTo>
                  <a:pt x="4079876" y="2287255"/>
                  <a:pt x="4047996" y="2290213"/>
                  <a:pt x="4015621" y="2290736"/>
                </a:cubicBezTo>
                <a:lnTo>
                  <a:pt x="3998503" y="2292349"/>
                </a:lnTo>
                <a:lnTo>
                  <a:pt x="3998477" y="2291858"/>
                </a:lnTo>
                <a:lnTo>
                  <a:pt x="3997978" y="2291891"/>
                </a:lnTo>
                <a:cubicBezTo>
                  <a:pt x="3997412" y="2288119"/>
                  <a:pt x="3997385" y="2284333"/>
                  <a:pt x="3997385" y="2280541"/>
                </a:cubicBezTo>
                <a:cubicBezTo>
                  <a:pt x="3997385" y="2274903"/>
                  <a:pt x="3997443" y="2269279"/>
                  <a:pt x="3998755" y="2263693"/>
                </a:cubicBezTo>
                <a:cubicBezTo>
                  <a:pt x="3998713" y="2232611"/>
                  <a:pt x="4001163" y="2201969"/>
                  <a:pt x="4006219" y="2171962"/>
                </a:cubicBezTo>
                <a:lnTo>
                  <a:pt x="4006760" y="2165325"/>
                </a:lnTo>
                <a:cubicBezTo>
                  <a:pt x="4006928" y="2165320"/>
                  <a:pt x="4007098" y="2165315"/>
                  <a:pt x="4007265" y="2165262"/>
                </a:cubicBezTo>
                <a:cubicBezTo>
                  <a:pt x="4057542" y="1815167"/>
                  <a:pt x="4338581" y="1536596"/>
                  <a:pt x="4697431" y="1477664"/>
                </a:cubicBezTo>
                <a:lnTo>
                  <a:pt x="4697548" y="1476525"/>
                </a:lnTo>
                <a:cubicBezTo>
                  <a:pt x="4702857" y="1475523"/>
                  <a:pt x="4708185" y="1474582"/>
                  <a:pt x="4713761" y="1474998"/>
                </a:cubicBezTo>
                <a:cubicBezTo>
                  <a:pt x="4744944" y="1469485"/>
                  <a:pt x="4776837" y="1466527"/>
                  <a:pt x="4809222" y="1466004"/>
                </a:cubicBezTo>
                <a:close/>
                <a:moveTo>
                  <a:pt x="3147947" y="1464394"/>
                </a:moveTo>
                <a:lnTo>
                  <a:pt x="3165034" y="1466004"/>
                </a:lnTo>
                <a:cubicBezTo>
                  <a:pt x="3197420" y="1466527"/>
                  <a:pt x="3229312" y="1469485"/>
                  <a:pt x="3260496" y="1474998"/>
                </a:cubicBezTo>
                <a:cubicBezTo>
                  <a:pt x="3266072" y="1474582"/>
                  <a:pt x="3271400" y="1475523"/>
                  <a:pt x="3276708" y="1476525"/>
                </a:cubicBezTo>
                <a:lnTo>
                  <a:pt x="3276826" y="1477664"/>
                </a:lnTo>
                <a:cubicBezTo>
                  <a:pt x="3635676" y="1536596"/>
                  <a:pt x="3916715" y="1815167"/>
                  <a:pt x="3966991" y="2165262"/>
                </a:cubicBezTo>
                <a:cubicBezTo>
                  <a:pt x="3967159" y="2165315"/>
                  <a:pt x="3967328" y="2165320"/>
                  <a:pt x="3967497" y="2165325"/>
                </a:cubicBezTo>
                <a:lnTo>
                  <a:pt x="3968037" y="2171962"/>
                </a:lnTo>
                <a:cubicBezTo>
                  <a:pt x="3973094" y="2201969"/>
                  <a:pt x="3975543" y="2232611"/>
                  <a:pt x="3975501" y="2263693"/>
                </a:cubicBezTo>
                <a:cubicBezTo>
                  <a:pt x="3976813" y="2269279"/>
                  <a:pt x="3976872" y="2274903"/>
                  <a:pt x="3976872" y="2280541"/>
                </a:cubicBezTo>
                <a:cubicBezTo>
                  <a:pt x="3976872" y="2284333"/>
                  <a:pt x="3976845" y="2288119"/>
                  <a:pt x="3976279" y="2291891"/>
                </a:cubicBezTo>
                <a:lnTo>
                  <a:pt x="3975780" y="2291858"/>
                </a:lnTo>
                <a:lnTo>
                  <a:pt x="3975754" y="2292349"/>
                </a:lnTo>
                <a:lnTo>
                  <a:pt x="3958635" y="2290736"/>
                </a:lnTo>
                <a:cubicBezTo>
                  <a:pt x="3926261" y="2290213"/>
                  <a:pt x="3894381" y="2287255"/>
                  <a:pt x="3863209" y="2281745"/>
                </a:cubicBezTo>
                <a:cubicBezTo>
                  <a:pt x="3857632" y="2282161"/>
                  <a:pt x="3852303" y="2281220"/>
                  <a:pt x="3846992" y="2280217"/>
                </a:cubicBezTo>
                <a:lnTo>
                  <a:pt x="3846876" y="2279078"/>
                </a:lnTo>
                <a:cubicBezTo>
                  <a:pt x="3488025" y="2220146"/>
                  <a:pt x="3206986" y="1941574"/>
                  <a:pt x="3156710" y="1591480"/>
                </a:cubicBezTo>
                <a:cubicBezTo>
                  <a:pt x="3156543" y="1591427"/>
                  <a:pt x="3156374" y="1591423"/>
                  <a:pt x="3156205" y="1591418"/>
                </a:cubicBezTo>
                <a:lnTo>
                  <a:pt x="3155667" y="1584794"/>
                </a:lnTo>
                <a:cubicBezTo>
                  <a:pt x="3150608" y="1554782"/>
                  <a:pt x="3148157" y="1524133"/>
                  <a:pt x="3148199" y="1493044"/>
                </a:cubicBezTo>
                <a:cubicBezTo>
                  <a:pt x="3146887" y="1487460"/>
                  <a:pt x="3146829" y="1481838"/>
                  <a:pt x="3146829" y="1476202"/>
                </a:cubicBezTo>
                <a:lnTo>
                  <a:pt x="3147423" y="1464852"/>
                </a:lnTo>
                <a:lnTo>
                  <a:pt x="3147921" y="1464884"/>
                </a:lnTo>
                <a:close/>
                <a:moveTo>
                  <a:pt x="3134159" y="1464394"/>
                </a:moveTo>
                <a:lnTo>
                  <a:pt x="3134185" y="1464884"/>
                </a:lnTo>
                <a:lnTo>
                  <a:pt x="3134683" y="1464852"/>
                </a:lnTo>
                <a:lnTo>
                  <a:pt x="3135277" y="1476202"/>
                </a:lnTo>
                <a:cubicBezTo>
                  <a:pt x="3135277" y="1481838"/>
                  <a:pt x="3135218" y="1487460"/>
                  <a:pt x="3133906" y="1493044"/>
                </a:cubicBezTo>
                <a:cubicBezTo>
                  <a:pt x="3133948" y="1524133"/>
                  <a:pt x="3131498" y="1554782"/>
                  <a:pt x="3126439" y="1584794"/>
                </a:cubicBezTo>
                <a:lnTo>
                  <a:pt x="3125901" y="1591418"/>
                </a:lnTo>
                <a:cubicBezTo>
                  <a:pt x="3125731" y="1591423"/>
                  <a:pt x="3125563" y="1591427"/>
                  <a:pt x="3125395" y="1591480"/>
                </a:cubicBezTo>
                <a:cubicBezTo>
                  <a:pt x="3075120" y="1941574"/>
                  <a:pt x="2794081" y="2220146"/>
                  <a:pt x="2435230" y="2279078"/>
                </a:cubicBezTo>
                <a:lnTo>
                  <a:pt x="2435113" y="2280217"/>
                </a:lnTo>
                <a:cubicBezTo>
                  <a:pt x="2429803" y="2281220"/>
                  <a:pt x="2424474" y="2282161"/>
                  <a:pt x="2418897" y="2281745"/>
                </a:cubicBezTo>
                <a:cubicBezTo>
                  <a:pt x="2387725" y="2287255"/>
                  <a:pt x="2355845" y="2290213"/>
                  <a:pt x="2323470" y="2290736"/>
                </a:cubicBezTo>
                <a:lnTo>
                  <a:pt x="2306352" y="2292349"/>
                </a:lnTo>
                <a:lnTo>
                  <a:pt x="2306326" y="2291858"/>
                </a:lnTo>
                <a:lnTo>
                  <a:pt x="2305827" y="2291891"/>
                </a:lnTo>
                <a:cubicBezTo>
                  <a:pt x="2305261" y="2288119"/>
                  <a:pt x="2305234" y="2284333"/>
                  <a:pt x="2305234" y="2280541"/>
                </a:cubicBezTo>
                <a:cubicBezTo>
                  <a:pt x="2305234" y="2274903"/>
                  <a:pt x="2305292" y="2269279"/>
                  <a:pt x="2306604" y="2263693"/>
                </a:cubicBezTo>
                <a:cubicBezTo>
                  <a:pt x="2306562" y="2232611"/>
                  <a:pt x="2309012" y="2201969"/>
                  <a:pt x="2314068" y="2171962"/>
                </a:cubicBezTo>
                <a:lnTo>
                  <a:pt x="2314609" y="2165325"/>
                </a:lnTo>
                <a:cubicBezTo>
                  <a:pt x="2314777" y="2165320"/>
                  <a:pt x="2314947" y="2165315"/>
                  <a:pt x="2315114" y="2165262"/>
                </a:cubicBezTo>
                <a:cubicBezTo>
                  <a:pt x="2365391" y="1815167"/>
                  <a:pt x="2646430" y="1536596"/>
                  <a:pt x="3005280" y="1477664"/>
                </a:cubicBezTo>
                <a:lnTo>
                  <a:pt x="3005397" y="1476525"/>
                </a:lnTo>
                <a:cubicBezTo>
                  <a:pt x="3010706" y="1475523"/>
                  <a:pt x="3016034" y="1474582"/>
                  <a:pt x="3021610" y="1474998"/>
                </a:cubicBezTo>
                <a:cubicBezTo>
                  <a:pt x="3052793" y="1469485"/>
                  <a:pt x="3084686" y="1466527"/>
                  <a:pt x="3117071" y="1466004"/>
                </a:cubicBezTo>
                <a:close/>
                <a:moveTo>
                  <a:pt x="1455796" y="1464394"/>
                </a:moveTo>
                <a:lnTo>
                  <a:pt x="1472883" y="1466004"/>
                </a:lnTo>
                <a:cubicBezTo>
                  <a:pt x="1505269" y="1466527"/>
                  <a:pt x="1537161" y="1469485"/>
                  <a:pt x="1568345" y="1474998"/>
                </a:cubicBezTo>
                <a:cubicBezTo>
                  <a:pt x="1573921" y="1474582"/>
                  <a:pt x="1579249" y="1475523"/>
                  <a:pt x="1584557" y="1476525"/>
                </a:cubicBezTo>
                <a:lnTo>
                  <a:pt x="1584675" y="1477664"/>
                </a:lnTo>
                <a:cubicBezTo>
                  <a:pt x="1943525" y="1536596"/>
                  <a:pt x="2224564" y="1815167"/>
                  <a:pt x="2274840" y="2165262"/>
                </a:cubicBezTo>
                <a:cubicBezTo>
                  <a:pt x="2275008" y="2165315"/>
                  <a:pt x="2275177" y="2165320"/>
                  <a:pt x="2275346" y="2165325"/>
                </a:cubicBezTo>
                <a:lnTo>
                  <a:pt x="2275886" y="2171962"/>
                </a:lnTo>
                <a:cubicBezTo>
                  <a:pt x="2280943" y="2201969"/>
                  <a:pt x="2283392" y="2232611"/>
                  <a:pt x="2283350" y="2263693"/>
                </a:cubicBezTo>
                <a:cubicBezTo>
                  <a:pt x="2284662" y="2269279"/>
                  <a:pt x="2284721" y="2274903"/>
                  <a:pt x="2284721" y="2280541"/>
                </a:cubicBezTo>
                <a:cubicBezTo>
                  <a:pt x="2284721" y="2284333"/>
                  <a:pt x="2284694" y="2288119"/>
                  <a:pt x="2284128" y="2291891"/>
                </a:cubicBezTo>
                <a:lnTo>
                  <a:pt x="2283629" y="2291858"/>
                </a:lnTo>
                <a:lnTo>
                  <a:pt x="2283603" y="2292349"/>
                </a:lnTo>
                <a:lnTo>
                  <a:pt x="2266484" y="2290736"/>
                </a:lnTo>
                <a:cubicBezTo>
                  <a:pt x="2234110" y="2290213"/>
                  <a:pt x="2202230" y="2287255"/>
                  <a:pt x="2171058" y="2281745"/>
                </a:cubicBezTo>
                <a:cubicBezTo>
                  <a:pt x="2165481" y="2282161"/>
                  <a:pt x="2160152" y="2281220"/>
                  <a:pt x="2154841" y="2280217"/>
                </a:cubicBezTo>
                <a:lnTo>
                  <a:pt x="2154725" y="2279078"/>
                </a:lnTo>
                <a:cubicBezTo>
                  <a:pt x="1795874" y="2220146"/>
                  <a:pt x="1514835" y="1941574"/>
                  <a:pt x="1464559" y="1591480"/>
                </a:cubicBezTo>
                <a:cubicBezTo>
                  <a:pt x="1464392" y="1591427"/>
                  <a:pt x="1464223" y="1591423"/>
                  <a:pt x="1464054" y="1591418"/>
                </a:cubicBezTo>
                <a:lnTo>
                  <a:pt x="1463515" y="1584794"/>
                </a:lnTo>
                <a:cubicBezTo>
                  <a:pt x="1458457" y="1554782"/>
                  <a:pt x="1456006" y="1524133"/>
                  <a:pt x="1456048" y="1493044"/>
                </a:cubicBezTo>
                <a:cubicBezTo>
                  <a:pt x="1454736" y="1487460"/>
                  <a:pt x="1454678" y="1481838"/>
                  <a:pt x="1454678" y="1476202"/>
                </a:cubicBezTo>
                <a:lnTo>
                  <a:pt x="1455272" y="1464852"/>
                </a:lnTo>
                <a:lnTo>
                  <a:pt x="1455770" y="1464884"/>
                </a:lnTo>
                <a:close/>
                <a:moveTo>
                  <a:pt x="1442008" y="1464394"/>
                </a:moveTo>
                <a:lnTo>
                  <a:pt x="1442034" y="1464884"/>
                </a:lnTo>
                <a:lnTo>
                  <a:pt x="1442532" y="1464852"/>
                </a:lnTo>
                <a:lnTo>
                  <a:pt x="1443126" y="1476202"/>
                </a:lnTo>
                <a:cubicBezTo>
                  <a:pt x="1443126" y="1481838"/>
                  <a:pt x="1443067" y="1487460"/>
                  <a:pt x="1441755" y="1493044"/>
                </a:cubicBezTo>
                <a:cubicBezTo>
                  <a:pt x="1441797" y="1524133"/>
                  <a:pt x="1439347" y="1554782"/>
                  <a:pt x="1434288" y="1584794"/>
                </a:cubicBezTo>
                <a:lnTo>
                  <a:pt x="1433750" y="1591418"/>
                </a:lnTo>
                <a:cubicBezTo>
                  <a:pt x="1433580" y="1591423"/>
                  <a:pt x="1433412" y="1591427"/>
                  <a:pt x="1433244" y="1591480"/>
                </a:cubicBezTo>
                <a:cubicBezTo>
                  <a:pt x="1382969" y="1941574"/>
                  <a:pt x="1101930" y="2220146"/>
                  <a:pt x="743079" y="2279078"/>
                </a:cubicBezTo>
                <a:lnTo>
                  <a:pt x="742962" y="2280217"/>
                </a:lnTo>
                <a:cubicBezTo>
                  <a:pt x="737652" y="2281220"/>
                  <a:pt x="732323" y="2282161"/>
                  <a:pt x="726746" y="2281745"/>
                </a:cubicBezTo>
                <a:cubicBezTo>
                  <a:pt x="695574" y="2287255"/>
                  <a:pt x="663693" y="2290213"/>
                  <a:pt x="631319" y="2290736"/>
                </a:cubicBezTo>
                <a:lnTo>
                  <a:pt x="614201" y="2292349"/>
                </a:lnTo>
                <a:lnTo>
                  <a:pt x="614175" y="2291858"/>
                </a:lnTo>
                <a:lnTo>
                  <a:pt x="613676" y="2291891"/>
                </a:lnTo>
                <a:cubicBezTo>
                  <a:pt x="613110" y="2288119"/>
                  <a:pt x="613083" y="2284333"/>
                  <a:pt x="613083" y="2280541"/>
                </a:cubicBezTo>
                <a:cubicBezTo>
                  <a:pt x="613083" y="2274903"/>
                  <a:pt x="613141" y="2269279"/>
                  <a:pt x="614453" y="2263693"/>
                </a:cubicBezTo>
                <a:cubicBezTo>
                  <a:pt x="614411" y="2232611"/>
                  <a:pt x="616861" y="2201969"/>
                  <a:pt x="621917" y="2171962"/>
                </a:cubicBezTo>
                <a:lnTo>
                  <a:pt x="622458" y="2165325"/>
                </a:lnTo>
                <a:cubicBezTo>
                  <a:pt x="622626" y="2165320"/>
                  <a:pt x="622796" y="2165315"/>
                  <a:pt x="622963" y="2165262"/>
                </a:cubicBezTo>
                <a:cubicBezTo>
                  <a:pt x="673240" y="1815167"/>
                  <a:pt x="954279" y="1536596"/>
                  <a:pt x="1313129" y="1477664"/>
                </a:cubicBezTo>
                <a:lnTo>
                  <a:pt x="1313246" y="1476525"/>
                </a:lnTo>
                <a:cubicBezTo>
                  <a:pt x="1318555" y="1475523"/>
                  <a:pt x="1323883" y="1474582"/>
                  <a:pt x="1329459" y="1474998"/>
                </a:cubicBezTo>
                <a:cubicBezTo>
                  <a:pt x="1360642" y="1469485"/>
                  <a:pt x="1392535" y="1466527"/>
                  <a:pt x="1424920" y="1466004"/>
                </a:cubicBezTo>
                <a:close/>
                <a:moveTo>
                  <a:pt x="10909360" y="750600"/>
                </a:moveTo>
                <a:cubicBezTo>
                  <a:pt x="10962636" y="1021506"/>
                  <a:pt x="11177479" y="1236303"/>
                  <a:pt x="11452669" y="1295446"/>
                </a:cubicBezTo>
                <a:cubicBezTo>
                  <a:pt x="11399394" y="1024540"/>
                  <a:pt x="11184550" y="809743"/>
                  <a:pt x="10909360" y="750600"/>
                </a:cubicBezTo>
                <a:close/>
                <a:moveTo>
                  <a:pt x="10602109" y="750600"/>
                </a:moveTo>
                <a:cubicBezTo>
                  <a:pt x="10326919" y="809743"/>
                  <a:pt x="10112075" y="1024540"/>
                  <a:pt x="10058800" y="1295446"/>
                </a:cubicBezTo>
                <a:cubicBezTo>
                  <a:pt x="10333990" y="1236303"/>
                  <a:pt x="10548833" y="1021506"/>
                  <a:pt x="10602109" y="750600"/>
                </a:cubicBezTo>
                <a:close/>
                <a:moveTo>
                  <a:pt x="9217207" y="750600"/>
                </a:moveTo>
                <a:cubicBezTo>
                  <a:pt x="9270483" y="1021506"/>
                  <a:pt x="9485326" y="1236303"/>
                  <a:pt x="9760516" y="1295446"/>
                </a:cubicBezTo>
                <a:cubicBezTo>
                  <a:pt x="9707241" y="1024540"/>
                  <a:pt x="9492397" y="809743"/>
                  <a:pt x="9217207" y="750600"/>
                </a:cubicBezTo>
                <a:close/>
                <a:moveTo>
                  <a:pt x="8909958" y="750600"/>
                </a:moveTo>
                <a:cubicBezTo>
                  <a:pt x="8634768" y="809743"/>
                  <a:pt x="8419924" y="1024540"/>
                  <a:pt x="8366649" y="1295446"/>
                </a:cubicBezTo>
                <a:cubicBezTo>
                  <a:pt x="8641839" y="1236303"/>
                  <a:pt x="8856682" y="1021506"/>
                  <a:pt x="8909958" y="750600"/>
                </a:cubicBezTo>
                <a:close/>
                <a:moveTo>
                  <a:pt x="7525056" y="750600"/>
                </a:moveTo>
                <a:cubicBezTo>
                  <a:pt x="7578332" y="1021506"/>
                  <a:pt x="7793175" y="1236303"/>
                  <a:pt x="8068365" y="1295446"/>
                </a:cubicBezTo>
                <a:cubicBezTo>
                  <a:pt x="8015090" y="1024540"/>
                  <a:pt x="7800246" y="809743"/>
                  <a:pt x="7525056" y="750600"/>
                </a:cubicBezTo>
                <a:close/>
                <a:moveTo>
                  <a:pt x="7217807" y="750600"/>
                </a:moveTo>
                <a:cubicBezTo>
                  <a:pt x="6942617" y="809743"/>
                  <a:pt x="6727773" y="1024540"/>
                  <a:pt x="6674498" y="1295446"/>
                </a:cubicBezTo>
                <a:cubicBezTo>
                  <a:pt x="6949688" y="1236303"/>
                  <a:pt x="7164531" y="1021506"/>
                  <a:pt x="7217807" y="750600"/>
                </a:cubicBezTo>
                <a:close/>
                <a:moveTo>
                  <a:pt x="5832905" y="750600"/>
                </a:moveTo>
                <a:cubicBezTo>
                  <a:pt x="5886181" y="1021506"/>
                  <a:pt x="6101024" y="1236303"/>
                  <a:pt x="6376214" y="1295446"/>
                </a:cubicBezTo>
                <a:cubicBezTo>
                  <a:pt x="6322939" y="1024540"/>
                  <a:pt x="6108095" y="809743"/>
                  <a:pt x="5832905" y="750600"/>
                </a:cubicBezTo>
                <a:close/>
                <a:moveTo>
                  <a:pt x="5525656" y="750600"/>
                </a:moveTo>
                <a:cubicBezTo>
                  <a:pt x="5250466" y="809743"/>
                  <a:pt x="5035622" y="1024540"/>
                  <a:pt x="4982347" y="1295446"/>
                </a:cubicBezTo>
                <a:cubicBezTo>
                  <a:pt x="5257537" y="1236303"/>
                  <a:pt x="5472380" y="1021506"/>
                  <a:pt x="5525656" y="750600"/>
                </a:cubicBezTo>
                <a:close/>
                <a:moveTo>
                  <a:pt x="4140754" y="750600"/>
                </a:moveTo>
                <a:cubicBezTo>
                  <a:pt x="4194030" y="1021506"/>
                  <a:pt x="4408873" y="1236303"/>
                  <a:pt x="4684063" y="1295446"/>
                </a:cubicBezTo>
                <a:cubicBezTo>
                  <a:pt x="4630788" y="1024540"/>
                  <a:pt x="4415944" y="809743"/>
                  <a:pt x="4140754" y="750600"/>
                </a:cubicBezTo>
                <a:close/>
                <a:moveTo>
                  <a:pt x="3833505" y="750600"/>
                </a:moveTo>
                <a:cubicBezTo>
                  <a:pt x="3558315" y="809743"/>
                  <a:pt x="3343471" y="1024540"/>
                  <a:pt x="3290196" y="1295446"/>
                </a:cubicBezTo>
                <a:cubicBezTo>
                  <a:pt x="3565386" y="1236303"/>
                  <a:pt x="3780229" y="1021506"/>
                  <a:pt x="3833505" y="750600"/>
                </a:cubicBezTo>
                <a:close/>
                <a:moveTo>
                  <a:pt x="2448603" y="750600"/>
                </a:moveTo>
                <a:cubicBezTo>
                  <a:pt x="2501879" y="1021506"/>
                  <a:pt x="2716722" y="1236303"/>
                  <a:pt x="2991912" y="1295446"/>
                </a:cubicBezTo>
                <a:cubicBezTo>
                  <a:pt x="2938637" y="1024540"/>
                  <a:pt x="2723793" y="809743"/>
                  <a:pt x="2448603" y="750600"/>
                </a:cubicBezTo>
                <a:close/>
                <a:moveTo>
                  <a:pt x="2141354" y="750600"/>
                </a:moveTo>
                <a:cubicBezTo>
                  <a:pt x="1866164" y="809743"/>
                  <a:pt x="1651320" y="1024540"/>
                  <a:pt x="1598045" y="1295446"/>
                </a:cubicBezTo>
                <a:cubicBezTo>
                  <a:pt x="1873235" y="1236303"/>
                  <a:pt x="2088078" y="1021506"/>
                  <a:pt x="2141354" y="750600"/>
                </a:cubicBezTo>
                <a:close/>
                <a:moveTo>
                  <a:pt x="756452" y="750600"/>
                </a:moveTo>
                <a:cubicBezTo>
                  <a:pt x="809728" y="1021506"/>
                  <a:pt x="1024571" y="1236303"/>
                  <a:pt x="1299761" y="1295446"/>
                </a:cubicBezTo>
                <a:cubicBezTo>
                  <a:pt x="1246486" y="1024540"/>
                  <a:pt x="1031642" y="809743"/>
                  <a:pt x="756452" y="750600"/>
                </a:cubicBezTo>
                <a:close/>
                <a:moveTo>
                  <a:pt x="12192000" y="647790"/>
                </a:moveTo>
                <a:lnTo>
                  <a:pt x="12192000" y="780838"/>
                </a:lnTo>
                <a:cubicBezTo>
                  <a:pt x="11966807" y="865550"/>
                  <a:pt x="11797421" y="1059155"/>
                  <a:pt x="11750953" y="1295446"/>
                </a:cubicBezTo>
                <a:cubicBezTo>
                  <a:pt x="11935988" y="1255679"/>
                  <a:pt x="12093739" y="1145540"/>
                  <a:pt x="12192000" y="994335"/>
                </a:cubicBezTo>
                <a:lnTo>
                  <a:pt x="12192000" y="1195909"/>
                </a:lnTo>
                <a:cubicBezTo>
                  <a:pt x="12071770" y="1314911"/>
                  <a:pt x="11914089" y="1397686"/>
                  <a:pt x="11737582" y="1426902"/>
                </a:cubicBezTo>
                <a:lnTo>
                  <a:pt x="11737466" y="1428050"/>
                </a:lnTo>
                <a:cubicBezTo>
                  <a:pt x="11732155" y="1429061"/>
                  <a:pt x="11726826" y="1430009"/>
                  <a:pt x="11721249" y="1429590"/>
                </a:cubicBezTo>
                <a:cubicBezTo>
                  <a:pt x="11690077" y="1435144"/>
                  <a:pt x="11658197" y="1438125"/>
                  <a:pt x="11625822" y="1438652"/>
                </a:cubicBezTo>
                <a:lnTo>
                  <a:pt x="11608704" y="1440278"/>
                </a:lnTo>
                <a:lnTo>
                  <a:pt x="11608678" y="1439783"/>
                </a:lnTo>
                <a:lnTo>
                  <a:pt x="11608179" y="1439816"/>
                </a:lnTo>
                <a:cubicBezTo>
                  <a:pt x="11607613" y="1436014"/>
                  <a:pt x="11607586" y="1432198"/>
                  <a:pt x="11607586" y="1428376"/>
                </a:cubicBezTo>
                <a:cubicBezTo>
                  <a:pt x="11607586" y="1422694"/>
                  <a:pt x="11607645" y="1417025"/>
                  <a:pt x="11608957" y="1411395"/>
                </a:cubicBezTo>
                <a:cubicBezTo>
                  <a:pt x="11608914" y="1380067"/>
                  <a:pt x="11611364" y="1349182"/>
                  <a:pt x="11616421" y="1318938"/>
                </a:cubicBezTo>
                <a:lnTo>
                  <a:pt x="11616961" y="1312248"/>
                </a:lnTo>
                <a:cubicBezTo>
                  <a:pt x="11617130" y="1312243"/>
                  <a:pt x="11617299" y="1312238"/>
                  <a:pt x="11617466" y="1312185"/>
                </a:cubicBezTo>
                <a:cubicBezTo>
                  <a:pt x="11662185" y="998329"/>
                  <a:pt x="11889463" y="741504"/>
                  <a:pt x="12192000" y="647790"/>
                </a:cubicBezTo>
                <a:close/>
                <a:moveTo>
                  <a:pt x="10767111" y="605769"/>
                </a:moveTo>
                <a:lnTo>
                  <a:pt x="10784198" y="607392"/>
                </a:lnTo>
                <a:cubicBezTo>
                  <a:pt x="10816584" y="607919"/>
                  <a:pt x="10848477" y="610900"/>
                  <a:pt x="10879660" y="616457"/>
                </a:cubicBezTo>
                <a:cubicBezTo>
                  <a:pt x="10885236" y="616038"/>
                  <a:pt x="10890564" y="616986"/>
                  <a:pt x="10895873" y="617996"/>
                </a:cubicBezTo>
                <a:lnTo>
                  <a:pt x="10895990" y="619144"/>
                </a:lnTo>
                <a:cubicBezTo>
                  <a:pt x="11254840" y="678542"/>
                  <a:pt x="11535879" y="959319"/>
                  <a:pt x="11586156" y="1312185"/>
                </a:cubicBezTo>
                <a:cubicBezTo>
                  <a:pt x="11586323" y="1312238"/>
                  <a:pt x="11586492" y="1312243"/>
                  <a:pt x="11586661" y="1312248"/>
                </a:cubicBezTo>
                <a:lnTo>
                  <a:pt x="11587201" y="1318938"/>
                </a:lnTo>
                <a:cubicBezTo>
                  <a:pt x="11592258" y="1349182"/>
                  <a:pt x="11594708" y="1380067"/>
                  <a:pt x="11594665" y="1411395"/>
                </a:cubicBezTo>
                <a:cubicBezTo>
                  <a:pt x="11595977" y="1417025"/>
                  <a:pt x="11596036" y="1422694"/>
                  <a:pt x="11596036" y="1428376"/>
                </a:cubicBezTo>
                <a:cubicBezTo>
                  <a:pt x="11596036" y="1432198"/>
                  <a:pt x="11596009" y="1436014"/>
                  <a:pt x="11595443" y="1439816"/>
                </a:cubicBezTo>
                <a:lnTo>
                  <a:pt x="11594944" y="1439783"/>
                </a:lnTo>
                <a:lnTo>
                  <a:pt x="11594918" y="1440278"/>
                </a:lnTo>
                <a:lnTo>
                  <a:pt x="11577800" y="1438652"/>
                </a:lnTo>
                <a:cubicBezTo>
                  <a:pt x="11545425" y="1438125"/>
                  <a:pt x="11513545" y="1435144"/>
                  <a:pt x="11482373" y="1429590"/>
                </a:cubicBezTo>
                <a:cubicBezTo>
                  <a:pt x="11476796" y="1430009"/>
                  <a:pt x="11471467" y="1429061"/>
                  <a:pt x="11466156" y="1428050"/>
                </a:cubicBezTo>
                <a:lnTo>
                  <a:pt x="11466040" y="1426902"/>
                </a:lnTo>
                <a:cubicBezTo>
                  <a:pt x="11107189" y="1367503"/>
                  <a:pt x="10826150" y="1086726"/>
                  <a:pt x="10775875" y="733861"/>
                </a:cubicBezTo>
                <a:cubicBezTo>
                  <a:pt x="10775707" y="733808"/>
                  <a:pt x="10775539" y="733803"/>
                  <a:pt x="10775369" y="733798"/>
                </a:cubicBezTo>
                <a:lnTo>
                  <a:pt x="10774831" y="727122"/>
                </a:lnTo>
                <a:cubicBezTo>
                  <a:pt x="10769772" y="696872"/>
                  <a:pt x="10767321" y="665981"/>
                  <a:pt x="10767364" y="634646"/>
                </a:cubicBezTo>
                <a:cubicBezTo>
                  <a:pt x="10766052" y="629018"/>
                  <a:pt x="10765993" y="623351"/>
                  <a:pt x="10765993" y="617670"/>
                </a:cubicBezTo>
                <a:lnTo>
                  <a:pt x="10766587" y="606230"/>
                </a:lnTo>
                <a:lnTo>
                  <a:pt x="10767085" y="606263"/>
                </a:lnTo>
                <a:close/>
                <a:moveTo>
                  <a:pt x="10744358" y="605769"/>
                </a:moveTo>
                <a:lnTo>
                  <a:pt x="10744384" y="606263"/>
                </a:lnTo>
                <a:lnTo>
                  <a:pt x="10744882" y="606230"/>
                </a:lnTo>
                <a:lnTo>
                  <a:pt x="10745476" y="617670"/>
                </a:lnTo>
                <a:cubicBezTo>
                  <a:pt x="10745476" y="623351"/>
                  <a:pt x="10745417" y="629018"/>
                  <a:pt x="10744105" y="634646"/>
                </a:cubicBezTo>
                <a:cubicBezTo>
                  <a:pt x="10744148" y="665981"/>
                  <a:pt x="10741697" y="696872"/>
                  <a:pt x="10736638" y="727122"/>
                </a:cubicBezTo>
                <a:lnTo>
                  <a:pt x="10736100" y="733798"/>
                </a:lnTo>
                <a:cubicBezTo>
                  <a:pt x="10735930" y="733803"/>
                  <a:pt x="10735762" y="733808"/>
                  <a:pt x="10735594" y="733861"/>
                </a:cubicBezTo>
                <a:cubicBezTo>
                  <a:pt x="10685319" y="1086726"/>
                  <a:pt x="10404280" y="1367503"/>
                  <a:pt x="10045429" y="1426902"/>
                </a:cubicBezTo>
                <a:lnTo>
                  <a:pt x="10045313" y="1428050"/>
                </a:lnTo>
                <a:cubicBezTo>
                  <a:pt x="10040002" y="1429061"/>
                  <a:pt x="10034673" y="1430009"/>
                  <a:pt x="10029096" y="1429590"/>
                </a:cubicBezTo>
                <a:cubicBezTo>
                  <a:pt x="9997924" y="1435144"/>
                  <a:pt x="9966044" y="1438125"/>
                  <a:pt x="9933669" y="1438652"/>
                </a:cubicBezTo>
                <a:lnTo>
                  <a:pt x="9916551" y="1440278"/>
                </a:lnTo>
                <a:lnTo>
                  <a:pt x="9916525" y="1439783"/>
                </a:lnTo>
                <a:lnTo>
                  <a:pt x="9916026" y="1439816"/>
                </a:lnTo>
                <a:cubicBezTo>
                  <a:pt x="9915460" y="1436014"/>
                  <a:pt x="9915433" y="1432198"/>
                  <a:pt x="9915433" y="1428376"/>
                </a:cubicBezTo>
                <a:cubicBezTo>
                  <a:pt x="9915433" y="1422694"/>
                  <a:pt x="9915492" y="1417025"/>
                  <a:pt x="9916804" y="1411395"/>
                </a:cubicBezTo>
                <a:cubicBezTo>
                  <a:pt x="9916761" y="1380067"/>
                  <a:pt x="9919211" y="1349182"/>
                  <a:pt x="9924268" y="1318938"/>
                </a:cubicBezTo>
                <a:lnTo>
                  <a:pt x="9924808" y="1312248"/>
                </a:lnTo>
                <a:cubicBezTo>
                  <a:pt x="9924977" y="1312243"/>
                  <a:pt x="9925146" y="1312238"/>
                  <a:pt x="9925314" y="1312185"/>
                </a:cubicBezTo>
                <a:cubicBezTo>
                  <a:pt x="9975590" y="959319"/>
                  <a:pt x="10256629" y="678542"/>
                  <a:pt x="10615479" y="619144"/>
                </a:cubicBezTo>
                <a:lnTo>
                  <a:pt x="10615596" y="617996"/>
                </a:lnTo>
                <a:cubicBezTo>
                  <a:pt x="10620905" y="616986"/>
                  <a:pt x="10626233" y="616038"/>
                  <a:pt x="10631809" y="616457"/>
                </a:cubicBezTo>
                <a:cubicBezTo>
                  <a:pt x="10662992" y="610900"/>
                  <a:pt x="10694885" y="607919"/>
                  <a:pt x="10727271" y="607392"/>
                </a:cubicBezTo>
                <a:close/>
                <a:moveTo>
                  <a:pt x="9074958" y="605769"/>
                </a:moveTo>
                <a:lnTo>
                  <a:pt x="9092045" y="607392"/>
                </a:lnTo>
                <a:cubicBezTo>
                  <a:pt x="9124431" y="607919"/>
                  <a:pt x="9156324" y="610900"/>
                  <a:pt x="9187507" y="616457"/>
                </a:cubicBezTo>
                <a:cubicBezTo>
                  <a:pt x="9193083" y="616038"/>
                  <a:pt x="9198411" y="616986"/>
                  <a:pt x="9203720" y="617996"/>
                </a:cubicBezTo>
                <a:lnTo>
                  <a:pt x="9203837" y="619144"/>
                </a:lnTo>
                <a:cubicBezTo>
                  <a:pt x="9562687" y="678542"/>
                  <a:pt x="9843726" y="959319"/>
                  <a:pt x="9894002" y="1312185"/>
                </a:cubicBezTo>
                <a:cubicBezTo>
                  <a:pt x="9894170" y="1312238"/>
                  <a:pt x="9894339" y="1312243"/>
                  <a:pt x="9894508" y="1312248"/>
                </a:cubicBezTo>
                <a:lnTo>
                  <a:pt x="9895048" y="1318938"/>
                </a:lnTo>
                <a:cubicBezTo>
                  <a:pt x="9900105" y="1349182"/>
                  <a:pt x="9902555" y="1380067"/>
                  <a:pt x="9902512" y="1411395"/>
                </a:cubicBezTo>
                <a:cubicBezTo>
                  <a:pt x="9903824" y="1417025"/>
                  <a:pt x="9903883" y="1422694"/>
                  <a:pt x="9903883" y="1428376"/>
                </a:cubicBezTo>
                <a:cubicBezTo>
                  <a:pt x="9903883" y="1432198"/>
                  <a:pt x="9903856" y="1436014"/>
                  <a:pt x="9903290" y="1439816"/>
                </a:cubicBezTo>
                <a:lnTo>
                  <a:pt x="9902791" y="1439783"/>
                </a:lnTo>
                <a:lnTo>
                  <a:pt x="9902765" y="1440278"/>
                </a:lnTo>
                <a:lnTo>
                  <a:pt x="9885647" y="1438652"/>
                </a:lnTo>
                <a:cubicBezTo>
                  <a:pt x="9853272" y="1438125"/>
                  <a:pt x="9821392" y="1435144"/>
                  <a:pt x="9790220" y="1429590"/>
                </a:cubicBezTo>
                <a:cubicBezTo>
                  <a:pt x="9784643" y="1430009"/>
                  <a:pt x="9779314" y="1429061"/>
                  <a:pt x="9774003" y="1428050"/>
                </a:cubicBezTo>
                <a:lnTo>
                  <a:pt x="9773887" y="1426902"/>
                </a:lnTo>
                <a:cubicBezTo>
                  <a:pt x="9415036" y="1367503"/>
                  <a:pt x="9133997" y="1086726"/>
                  <a:pt x="9083722" y="733861"/>
                </a:cubicBezTo>
                <a:cubicBezTo>
                  <a:pt x="9083554" y="733808"/>
                  <a:pt x="9083386" y="733803"/>
                  <a:pt x="9083216" y="733798"/>
                </a:cubicBezTo>
                <a:lnTo>
                  <a:pt x="9082678" y="727122"/>
                </a:lnTo>
                <a:cubicBezTo>
                  <a:pt x="9077619" y="696872"/>
                  <a:pt x="9075168" y="665981"/>
                  <a:pt x="9075211" y="634646"/>
                </a:cubicBezTo>
                <a:cubicBezTo>
                  <a:pt x="9073899" y="629018"/>
                  <a:pt x="9073840" y="623351"/>
                  <a:pt x="9073840" y="617670"/>
                </a:cubicBezTo>
                <a:lnTo>
                  <a:pt x="9074434" y="606230"/>
                </a:lnTo>
                <a:lnTo>
                  <a:pt x="9074932" y="606263"/>
                </a:lnTo>
                <a:close/>
                <a:moveTo>
                  <a:pt x="9052207" y="605769"/>
                </a:moveTo>
                <a:lnTo>
                  <a:pt x="9052233" y="606263"/>
                </a:lnTo>
                <a:lnTo>
                  <a:pt x="9052731" y="606230"/>
                </a:lnTo>
                <a:lnTo>
                  <a:pt x="9053325" y="617670"/>
                </a:lnTo>
                <a:cubicBezTo>
                  <a:pt x="9053325" y="623351"/>
                  <a:pt x="9053266" y="629018"/>
                  <a:pt x="9051954" y="634646"/>
                </a:cubicBezTo>
                <a:cubicBezTo>
                  <a:pt x="9051997" y="665981"/>
                  <a:pt x="9049546" y="696872"/>
                  <a:pt x="9044487" y="727122"/>
                </a:cubicBezTo>
                <a:lnTo>
                  <a:pt x="9043949" y="733798"/>
                </a:lnTo>
                <a:cubicBezTo>
                  <a:pt x="9043779" y="733803"/>
                  <a:pt x="9043611" y="733808"/>
                  <a:pt x="9043443" y="733861"/>
                </a:cubicBezTo>
                <a:cubicBezTo>
                  <a:pt x="8993168" y="1086726"/>
                  <a:pt x="8712129" y="1367503"/>
                  <a:pt x="8353278" y="1426902"/>
                </a:cubicBezTo>
                <a:lnTo>
                  <a:pt x="8353162" y="1428050"/>
                </a:lnTo>
                <a:cubicBezTo>
                  <a:pt x="8347851" y="1429061"/>
                  <a:pt x="8342522" y="1430009"/>
                  <a:pt x="8336945" y="1429590"/>
                </a:cubicBezTo>
                <a:cubicBezTo>
                  <a:pt x="8305773" y="1435144"/>
                  <a:pt x="8273893" y="1438125"/>
                  <a:pt x="8241519" y="1438652"/>
                </a:cubicBezTo>
                <a:lnTo>
                  <a:pt x="8224400" y="1440278"/>
                </a:lnTo>
                <a:lnTo>
                  <a:pt x="8224374" y="1439783"/>
                </a:lnTo>
                <a:lnTo>
                  <a:pt x="8223875" y="1439816"/>
                </a:lnTo>
                <a:cubicBezTo>
                  <a:pt x="8223309" y="1436014"/>
                  <a:pt x="8223282" y="1432198"/>
                  <a:pt x="8223282" y="1428376"/>
                </a:cubicBezTo>
                <a:cubicBezTo>
                  <a:pt x="8223282" y="1422694"/>
                  <a:pt x="8223341" y="1417025"/>
                  <a:pt x="8224653" y="1411395"/>
                </a:cubicBezTo>
                <a:cubicBezTo>
                  <a:pt x="8224611" y="1380067"/>
                  <a:pt x="8227060" y="1349182"/>
                  <a:pt x="8232117" y="1318938"/>
                </a:cubicBezTo>
                <a:lnTo>
                  <a:pt x="8232657" y="1312248"/>
                </a:lnTo>
                <a:cubicBezTo>
                  <a:pt x="8232826" y="1312243"/>
                  <a:pt x="8232995" y="1312238"/>
                  <a:pt x="8233163" y="1312185"/>
                </a:cubicBezTo>
                <a:cubicBezTo>
                  <a:pt x="8283439" y="959319"/>
                  <a:pt x="8564478" y="678542"/>
                  <a:pt x="8923328" y="619144"/>
                </a:cubicBezTo>
                <a:lnTo>
                  <a:pt x="8923445" y="617996"/>
                </a:lnTo>
                <a:cubicBezTo>
                  <a:pt x="8928754" y="616986"/>
                  <a:pt x="8934082" y="616038"/>
                  <a:pt x="8939658" y="616457"/>
                </a:cubicBezTo>
                <a:cubicBezTo>
                  <a:pt x="8970841" y="610900"/>
                  <a:pt x="9002734" y="607919"/>
                  <a:pt x="9035120" y="607392"/>
                </a:cubicBezTo>
                <a:close/>
                <a:moveTo>
                  <a:pt x="7382807" y="605769"/>
                </a:moveTo>
                <a:lnTo>
                  <a:pt x="7399895" y="607392"/>
                </a:lnTo>
                <a:cubicBezTo>
                  <a:pt x="7432280" y="607919"/>
                  <a:pt x="7464173" y="610900"/>
                  <a:pt x="7495356" y="616457"/>
                </a:cubicBezTo>
                <a:cubicBezTo>
                  <a:pt x="7500932" y="616038"/>
                  <a:pt x="7506260" y="616986"/>
                  <a:pt x="7511569" y="617996"/>
                </a:cubicBezTo>
                <a:lnTo>
                  <a:pt x="7511686" y="619144"/>
                </a:lnTo>
                <a:cubicBezTo>
                  <a:pt x="7870536" y="678542"/>
                  <a:pt x="8151575" y="959319"/>
                  <a:pt x="8201852" y="1312185"/>
                </a:cubicBezTo>
                <a:cubicBezTo>
                  <a:pt x="8202019" y="1312238"/>
                  <a:pt x="8202189" y="1312243"/>
                  <a:pt x="8202357" y="1312248"/>
                </a:cubicBezTo>
                <a:lnTo>
                  <a:pt x="8202898" y="1318938"/>
                </a:lnTo>
                <a:cubicBezTo>
                  <a:pt x="8207954" y="1349182"/>
                  <a:pt x="8210404" y="1380067"/>
                  <a:pt x="8210362" y="1411395"/>
                </a:cubicBezTo>
                <a:cubicBezTo>
                  <a:pt x="8211674" y="1417025"/>
                  <a:pt x="8211732" y="1422694"/>
                  <a:pt x="8211732" y="1428376"/>
                </a:cubicBezTo>
                <a:cubicBezTo>
                  <a:pt x="8211732" y="1432198"/>
                  <a:pt x="8211705" y="1436014"/>
                  <a:pt x="8211139" y="1439816"/>
                </a:cubicBezTo>
                <a:lnTo>
                  <a:pt x="8210640" y="1439783"/>
                </a:lnTo>
                <a:lnTo>
                  <a:pt x="8210614" y="1440278"/>
                </a:lnTo>
                <a:lnTo>
                  <a:pt x="8193496" y="1438652"/>
                </a:lnTo>
                <a:cubicBezTo>
                  <a:pt x="8161122" y="1438125"/>
                  <a:pt x="8129241" y="1435144"/>
                  <a:pt x="8098069" y="1429590"/>
                </a:cubicBezTo>
                <a:cubicBezTo>
                  <a:pt x="8092492" y="1430009"/>
                  <a:pt x="8087163" y="1429061"/>
                  <a:pt x="8081853" y="1428050"/>
                </a:cubicBezTo>
                <a:lnTo>
                  <a:pt x="8081737" y="1426902"/>
                </a:lnTo>
                <a:cubicBezTo>
                  <a:pt x="7722885" y="1367503"/>
                  <a:pt x="7441846" y="1086726"/>
                  <a:pt x="7391571" y="733861"/>
                </a:cubicBezTo>
                <a:cubicBezTo>
                  <a:pt x="7391403" y="733808"/>
                  <a:pt x="7391235" y="733803"/>
                  <a:pt x="7391065" y="733798"/>
                </a:cubicBezTo>
                <a:lnTo>
                  <a:pt x="7390527" y="727122"/>
                </a:lnTo>
                <a:cubicBezTo>
                  <a:pt x="7385468" y="696872"/>
                  <a:pt x="7383018" y="665981"/>
                  <a:pt x="7383060" y="634646"/>
                </a:cubicBezTo>
                <a:cubicBezTo>
                  <a:pt x="7381748" y="629018"/>
                  <a:pt x="7381689" y="623351"/>
                  <a:pt x="7381689" y="617670"/>
                </a:cubicBezTo>
                <a:lnTo>
                  <a:pt x="7382283" y="606230"/>
                </a:lnTo>
                <a:lnTo>
                  <a:pt x="7382781" y="606263"/>
                </a:lnTo>
                <a:close/>
                <a:moveTo>
                  <a:pt x="5690656" y="605769"/>
                </a:moveTo>
                <a:lnTo>
                  <a:pt x="5707743" y="607392"/>
                </a:lnTo>
                <a:cubicBezTo>
                  <a:pt x="5740129" y="607919"/>
                  <a:pt x="5772021" y="610900"/>
                  <a:pt x="5803205" y="616457"/>
                </a:cubicBezTo>
                <a:cubicBezTo>
                  <a:pt x="5808781" y="616038"/>
                  <a:pt x="5814109" y="616986"/>
                  <a:pt x="5819417" y="617996"/>
                </a:cubicBezTo>
                <a:lnTo>
                  <a:pt x="5819534" y="619144"/>
                </a:lnTo>
                <a:cubicBezTo>
                  <a:pt x="6178385" y="678542"/>
                  <a:pt x="6459424" y="959319"/>
                  <a:pt x="6509700" y="1312185"/>
                </a:cubicBezTo>
                <a:cubicBezTo>
                  <a:pt x="6509868" y="1312238"/>
                  <a:pt x="6510037" y="1312243"/>
                  <a:pt x="6510206" y="1312248"/>
                </a:cubicBezTo>
                <a:lnTo>
                  <a:pt x="6510746" y="1318938"/>
                </a:lnTo>
                <a:cubicBezTo>
                  <a:pt x="6515803" y="1349182"/>
                  <a:pt x="6518252" y="1380067"/>
                  <a:pt x="6518210" y="1411395"/>
                </a:cubicBezTo>
                <a:cubicBezTo>
                  <a:pt x="6519522" y="1417025"/>
                  <a:pt x="6519581" y="1422694"/>
                  <a:pt x="6519581" y="1428376"/>
                </a:cubicBezTo>
                <a:cubicBezTo>
                  <a:pt x="6519581" y="1432198"/>
                  <a:pt x="6519554" y="1436014"/>
                  <a:pt x="6518988" y="1439816"/>
                </a:cubicBezTo>
                <a:lnTo>
                  <a:pt x="6518489" y="1439783"/>
                </a:lnTo>
                <a:lnTo>
                  <a:pt x="6518463" y="1440278"/>
                </a:lnTo>
                <a:lnTo>
                  <a:pt x="6501344" y="1438652"/>
                </a:lnTo>
                <a:cubicBezTo>
                  <a:pt x="6468970" y="1438125"/>
                  <a:pt x="6437090" y="1435144"/>
                  <a:pt x="6405918" y="1429590"/>
                </a:cubicBezTo>
                <a:cubicBezTo>
                  <a:pt x="6400341" y="1430009"/>
                  <a:pt x="6395012" y="1429061"/>
                  <a:pt x="6389701" y="1428050"/>
                </a:cubicBezTo>
                <a:lnTo>
                  <a:pt x="6389585" y="1426902"/>
                </a:lnTo>
                <a:cubicBezTo>
                  <a:pt x="6030734" y="1367503"/>
                  <a:pt x="5749695" y="1086726"/>
                  <a:pt x="5699419" y="733861"/>
                </a:cubicBezTo>
                <a:cubicBezTo>
                  <a:pt x="5699252" y="733808"/>
                  <a:pt x="5699083" y="733803"/>
                  <a:pt x="5698914" y="733798"/>
                </a:cubicBezTo>
                <a:lnTo>
                  <a:pt x="5698375" y="727122"/>
                </a:lnTo>
                <a:cubicBezTo>
                  <a:pt x="5693317" y="696872"/>
                  <a:pt x="5690866" y="665981"/>
                  <a:pt x="5690908" y="634646"/>
                </a:cubicBezTo>
                <a:cubicBezTo>
                  <a:pt x="5689596" y="629018"/>
                  <a:pt x="5689538" y="623351"/>
                  <a:pt x="5689538" y="617670"/>
                </a:cubicBezTo>
                <a:lnTo>
                  <a:pt x="5690132" y="606230"/>
                </a:lnTo>
                <a:lnTo>
                  <a:pt x="5690630" y="606263"/>
                </a:lnTo>
                <a:close/>
                <a:moveTo>
                  <a:pt x="5667905" y="605769"/>
                </a:moveTo>
                <a:lnTo>
                  <a:pt x="5667931" y="606263"/>
                </a:lnTo>
                <a:lnTo>
                  <a:pt x="5668429" y="606230"/>
                </a:lnTo>
                <a:lnTo>
                  <a:pt x="5669023" y="617670"/>
                </a:lnTo>
                <a:cubicBezTo>
                  <a:pt x="5669023" y="623351"/>
                  <a:pt x="5668964" y="629018"/>
                  <a:pt x="5667652" y="634646"/>
                </a:cubicBezTo>
                <a:cubicBezTo>
                  <a:pt x="5667694" y="665981"/>
                  <a:pt x="5665244" y="696872"/>
                  <a:pt x="5660185" y="727122"/>
                </a:cubicBezTo>
                <a:lnTo>
                  <a:pt x="5659647" y="733798"/>
                </a:lnTo>
                <a:cubicBezTo>
                  <a:pt x="5659477" y="733803"/>
                  <a:pt x="5659309" y="733808"/>
                  <a:pt x="5659141" y="733861"/>
                </a:cubicBezTo>
                <a:cubicBezTo>
                  <a:pt x="5608866" y="1086726"/>
                  <a:pt x="5327827" y="1367503"/>
                  <a:pt x="4968975" y="1426902"/>
                </a:cubicBezTo>
                <a:lnTo>
                  <a:pt x="4968859" y="1428050"/>
                </a:lnTo>
                <a:cubicBezTo>
                  <a:pt x="4963549" y="1429061"/>
                  <a:pt x="4958220" y="1430009"/>
                  <a:pt x="4952643" y="1429590"/>
                </a:cubicBezTo>
                <a:cubicBezTo>
                  <a:pt x="4921471" y="1435144"/>
                  <a:pt x="4889590" y="1438125"/>
                  <a:pt x="4857216" y="1438652"/>
                </a:cubicBezTo>
                <a:lnTo>
                  <a:pt x="4840098" y="1440278"/>
                </a:lnTo>
                <a:lnTo>
                  <a:pt x="4840072" y="1439783"/>
                </a:lnTo>
                <a:lnTo>
                  <a:pt x="4839573" y="1439816"/>
                </a:lnTo>
                <a:cubicBezTo>
                  <a:pt x="4839007" y="1436014"/>
                  <a:pt x="4838980" y="1432198"/>
                  <a:pt x="4838980" y="1428376"/>
                </a:cubicBezTo>
                <a:cubicBezTo>
                  <a:pt x="4838980" y="1422694"/>
                  <a:pt x="4839038" y="1417025"/>
                  <a:pt x="4840350" y="1411395"/>
                </a:cubicBezTo>
                <a:cubicBezTo>
                  <a:pt x="4840308" y="1380067"/>
                  <a:pt x="4842758" y="1349182"/>
                  <a:pt x="4847814" y="1318938"/>
                </a:cubicBezTo>
                <a:lnTo>
                  <a:pt x="4848355" y="1312248"/>
                </a:lnTo>
                <a:cubicBezTo>
                  <a:pt x="4848523" y="1312243"/>
                  <a:pt x="4848693" y="1312238"/>
                  <a:pt x="4848860" y="1312185"/>
                </a:cubicBezTo>
                <a:cubicBezTo>
                  <a:pt x="4899137" y="959319"/>
                  <a:pt x="5180176" y="678542"/>
                  <a:pt x="5539026" y="619144"/>
                </a:cubicBezTo>
                <a:lnTo>
                  <a:pt x="5539143" y="617996"/>
                </a:lnTo>
                <a:cubicBezTo>
                  <a:pt x="5544452" y="616986"/>
                  <a:pt x="5549780" y="616038"/>
                  <a:pt x="5555356" y="616457"/>
                </a:cubicBezTo>
                <a:cubicBezTo>
                  <a:pt x="5586539" y="610900"/>
                  <a:pt x="5618432" y="607919"/>
                  <a:pt x="5650817" y="607392"/>
                </a:cubicBezTo>
                <a:close/>
                <a:moveTo>
                  <a:pt x="3998505" y="605769"/>
                </a:moveTo>
                <a:lnTo>
                  <a:pt x="4015592" y="607392"/>
                </a:lnTo>
                <a:cubicBezTo>
                  <a:pt x="4047978" y="607919"/>
                  <a:pt x="4079870" y="610900"/>
                  <a:pt x="4111054" y="616457"/>
                </a:cubicBezTo>
                <a:cubicBezTo>
                  <a:pt x="4116630" y="616038"/>
                  <a:pt x="4121958" y="616986"/>
                  <a:pt x="4127266" y="617996"/>
                </a:cubicBezTo>
                <a:lnTo>
                  <a:pt x="4127384" y="619144"/>
                </a:lnTo>
                <a:cubicBezTo>
                  <a:pt x="4486234" y="678542"/>
                  <a:pt x="4767273" y="959319"/>
                  <a:pt x="4817549" y="1312185"/>
                </a:cubicBezTo>
                <a:cubicBezTo>
                  <a:pt x="4817717" y="1312238"/>
                  <a:pt x="4817886" y="1312243"/>
                  <a:pt x="4818055" y="1312248"/>
                </a:cubicBezTo>
                <a:lnTo>
                  <a:pt x="4818595" y="1318938"/>
                </a:lnTo>
                <a:cubicBezTo>
                  <a:pt x="4823652" y="1349182"/>
                  <a:pt x="4826101" y="1380067"/>
                  <a:pt x="4826059" y="1411395"/>
                </a:cubicBezTo>
                <a:cubicBezTo>
                  <a:pt x="4827371" y="1417025"/>
                  <a:pt x="4827430" y="1422694"/>
                  <a:pt x="4827430" y="1428376"/>
                </a:cubicBezTo>
                <a:cubicBezTo>
                  <a:pt x="4827430" y="1432198"/>
                  <a:pt x="4827403" y="1436014"/>
                  <a:pt x="4826837" y="1439816"/>
                </a:cubicBezTo>
                <a:lnTo>
                  <a:pt x="4826338" y="1439783"/>
                </a:lnTo>
                <a:lnTo>
                  <a:pt x="4826312" y="1440278"/>
                </a:lnTo>
                <a:lnTo>
                  <a:pt x="4809193" y="1438652"/>
                </a:lnTo>
                <a:cubicBezTo>
                  <a:pt x="4776819" y="1438125"/>
                  <a:pt x="4744939" y="1435144"/>
                  <a:pt x="4713767" y="1429590"/>
                </a:cubicBezTo>
                <a:cubicBezTo>
                  <a:pt x="4708190" y="1430009"/>
                  <a:pt x="4702861" y="1429061"/>
                  <a:pt x="4697550" y="1428050"/>
                </a:cubicBezTo>
                <a:lnTo>
                  <a:pt x="4697434" y="1426902"/>
                </a:lnTo>
                <a:cubicBezTo>
                  <a:pt x="4338583" y="1367503"/>
                  <a:pt x="4057544" y="1086726"/>
                  <a:pt x="4007268" y="733861"/>
                </a:cubicBezTo>
                <a:cubicBezTo>
                  <a:pt x="4007101" y="733808"/>
                  <a:pt x="4006932" y="733803"/>
                  <a:pt x="4006763" y="733798"/>
                </a:cubicBezTo>
                <a:lnTo>
                  <a:pt x="4006225" y="727122"/>
                </a:lnTo>
                <a:cubicBezTo>
                  <a:pt x="4001166" y="696872"/>
                  <a:pt x="3998715" y="665981"/>
                  <a:pt x="3998757" y="634646"/>
                </a:cubicBezTo>
                <a:cubicBezTo>
                  <a:pt x="3997445" y="629018"/>
                  <a:pt x="3997387" y="623351"/>
                  <a:pt x="3997387" y="617670"/>
                </a:cubicBezTo>
                <a:lnTo>
                  <a:pt x="3997981" y="606230"/>
                </a:lnTo>
                <a:lnTo>
                  <a:pt x="3998479" y="606263"/>
                </a:lnTo>
                <a:close/>
                <a:moveTo>
                  <a:pt x="3975754" y="605769"/>
                </a:moveTo>
                <a:lnTo>
                  <a:pt x="3975780" y="606263"/>
                </a:lnTo>
                <a:lnTo>
                  <a:pt x="3976278" y="606230"/>
                </a:lnTo>
                <a:lnTo>
                  <a:pt x="3976872" y="617670"/>
                </a:lnTo>
                <a:cubicBezTo>
                  <a:pt x="3976872" y="623351"/>
                  <a:pt x="3976813" y="629018"/>
                  <a:pt x="3975501" y="634646"/>
                </a:cubicBezTo>
                <a:cubicBezTo>
                  <a:pt x="3975543" y="665981"/>
                  <a:pt x="3973093" y="696872"/>
                  <a:pt x="3968034" y="727122"/>
                </a:cubicBezTo>
                <a:lnTo>
                  <a:pt x="3967496" y="733798"/>
                </a:lnTo>
                <a:cubicBezTo>
                  <a:pt x="3967326" y="733803"/>
                  <a:pt x="3967158" y="733808"/>
                  <a:pt x="3966990" y="733861"/>
                </a:cubicBezTo>
                <a:cubicBezTo>
                  <a:pt x="3916715" y="1086726"/>
                  <a:pt x="3635676" y="1367503"/>
                  <a:pt x="3276825" y="1426902"/>
                </a:cubicBezTo>
                <a:lnTo>
                  <a:pt x="3276708" y="1428050"/>
                </a:lnTo>
                <a:cubicBezTo>
                  <a:pt x="3271398" y="1429061"/>
                  <a:pt x="3266069" y="1430009"/>
                  <a:pt x="3260492" y="1429590"/>
                </a:cubicBezTo>
                <a:cubicBezTo>
                  <a:pt x="3229320" y="1435144"/>
                  <a:pt x="3197440" y="1438125"/>
                  <a:pt x="3165065" y="1438652"/>
                </a:cubicBezTo>
                <a:lnTo>
                  <a:pt x="3147947" y="1440278"/>
                </a:lnTo>
                <a:lnTo>
                  <a:pt x="3147921" y="1439783"/>
                </a:lnTo>
                <a:lnTo>
                  <a:pt x="3147422" y="1439816"/>
                </a:lnTo>
                <a:cubicBezTo>
                  <a:pt x="3146856" y="1436014"/>
                  <a:pt x="3146829" y="1432198"/>
                  <a:pt x="3146829" y="1428376"/>
                </a:cubicBezTo>
                <a:cubicBezTo>
                  <a:pt x="3146829" y="1422694"/>
                  <a:pt x="3146887" y="1417025"/>
                  <a:pt x="3148199" y="1411395"/>
                </a:cubicBezTo>
                <a:cubicBezTo>
                  <a:pt x="3148157" y="1380067"/>
                  <a:pt x="3150607" y="1349182"/>
                  <a:pt x="3155663" y="1318938"/>
                </a:cubicBezTo>
                <a:lnTo>
                  <a:pt x="3156204" y="1312248"/>
                </a:lnTo>
                <a:cubicBezTo>
                  <a:pt x="3156372" y="1312243"/>
                  <a:pt x="3156542" y="1312238"/>
                  <a:pt x="3156709" y="1312185"/>
                </a:cubicBezTo>
                <a:cubicBezTo>
                  <a:pt x="3206986" y="959319"/>
                  <a:pt x="3488025" y="678542"/>
                  <a:pt x="3846875" y="619144"/>
                </a:cubicBezTo>
                <a:lnTo>
                  <a:pt x="3846992" y="617996"/>
                </a:lnTo>
                <a:cubicBezTo>
                  <a:pt x="3852301" y="616986"/>
                  <a:pt x="3857629" y="616038"/>
                  <a:pt x="3863205" y="616457"/>
                </a:cubicBezTo>
                <a:cubicBezTo>
                  <a:pt x="3894388" y="610900"/>
                  <a:pt x="3926281" y="607919"/>
                  <a:pt x="3958666" y="607392"/>
                </a:cubicBezTo>
                <a:close/>
                <a:moveTo>
                  <a:pt x="2306354" y="605769"/>
                </a:moveTo>
                <a:lnTo>
                  <a:pt x="2323441" y="607392"/>
                </a:lnTo>
                <a:cubicBezTo>
                  <a:pt x="2355827" y="607919"/>
                  <a:pt x="2387719" y="610900"/>
                  <a:pt x="2418903" y="616457"/>
                </a:cubicBezTo>
                <a:cubicBezTo>
                  <a:pt x="2424479" y="616038"/>
                  <a:pt x="2429807" y="616986"/>
                  <a:pt x="2435115" y="617996"/>
                </a:cubicBezTo>
                <a:lnTo>
                  <a:pt x="2435233" y="619144"/>
                </a:lnTo>
                <a:cubicBezTo>
                  <a:pt x="2794083" y="678542"/>
                  <a:pt x="3075122" y="959319"/>
                  <a:pt x="3125398" y="1312185"/>
                </a:cubicBezTo>
                <a:cubicBezTo>
                  <a:pt x="3125566" y="1312238"/>
                  <a:pt x="3125735" y="1312243"/>
                  <a:pt x="3125904" y="1312248"/>
                </a:cubicBezTo>
                <a:lnTo>
                  <a:pt x="3126444" y="1318938"/>
                </a:lnTo>
                <a:cubicBezTo>
                  <a:pt x="3131501" y="1349182"/>
                  <a:pt x="3133950" y="1380067"/>
                  <a:pt x="3133908" y="1411395"/>
                </a:cubicBezTo>
                <a:cubicBezTo>
                  <a:pt x="3135220" y="1417025"/>
                  <a:pt x="3135279" y="1422694"/>
                  <a:pt x="3135279" y="1428376"/>
                </a:cubicBezTo>
                <a:cubicBezTo>
                  <a:pt x="3135279" y="1432198"/>
                  <a:pt x="3135252" y="1436014"/>
                  <a:pt x="3134686" y="1439816"/>
                </a:cubicBezTo>
                <a:lnTo>
                  <a:pt x="3134187" y="1439783"/>
                </a:lnTo>
                <a:lnTo>
                  <a:pt x="3134161" y="1440278"/>
                </a:lnTo>
                <a:lnTo>
                  <a:pt x="3117042" y="1438652"/>
                </a:lnTo>
                <a:cubicBezTo>
                  <a:pt x="3084668" y="1438125"/>
                  <a:pt x="3052788" y="1435144"/>
                  <a:pt x="3021616" y="1429590"/>
                </a:cubicBezTo>
                <a:cubicBezTo>
                  <a:pt x="3016039" y="1430009"/>
                  <a:pt x="3010710" y="1429061"/>
                  <a:pt x="3005399" y="1428050"/>
                </a:cubicBezTo>
                <a:lnTo>
                  <a:pt x="3005283" y="1426902"/>
                </a:lnTo>
                <a:cubicBezTo>
                  <a:pt x="2646432" y="1367503"/>
                  <a:pt x="2365393" y="1086726"/>
                  <a:pt x="2315117" y="733861"/>
                </a:cubicBezTo>
                <a:cubicBezTo>
                  <a:pt x="2314950" y="733808"/>
                  <a:pt x="2314781" y="733803"/>
                  <a:pt x="2314612" y="733798"/>
                </a:cubicBezTo>
                <a:lnTo>
                  <a:pt x="2314074" y="727122"/>
                </a:lnTo>
                <a:cubicBezTo>
                  <a:pt x="2309015" y="696872"/>
                  <a:pt x="2306564" y="665981"/>
                  <a:pt x="2306606" y="634646"/>
                </a:cubicBezTo>
                <a:cubicBezTo>
                  <a:pt x="2305294" y="629018"/>
                  <a:pt x="2305236" y="623351"/>
                  <a:pt x="2305236" y="617670"/>
                </a:cubicBezTo>
                <a:lnTo>
                  <a:pt x="2305830" y="606230"/>
                </a:lnTo>
                <a:lnTo>
                  <a:pt x="2306328" y="606263"/>
                </a:lnTo>
                <a:close/>
                <a:moveTo>
                  <a:pt x="2283603" y="605769"/>
                </a:moveTo>
                <a:lnTo>
                  <a:pt x="2283629" y="606263"/>
                </a:lnTo>
                <a:lnTo>
                  <a:pt x="2284127" y="606230"/>
                </a:lnTo>
                <a:lnTo>
                  <a:pt x="2284721" y="617670"/>
                </a:lnTo>
                <a:cubicBezTo>
                  <a:pt x="2284721" y="623351"/>
                  <a:pt x="2284662" y="629018"/>
                  <a:pt x="2283350" y="634646"/>
                </a:cubicBezTo>
                <a:cubicBezTo>
                  <a:pt x="2283392" y="665981"/>
                  <a:pt x="2280942" y="696872"/>
                  <a:pt x="2275883" y="727122"/>
                </a:cubicBezTo>
                <a:lnTo>
                  <a:pt x="2275345" y="733798"/>
                </a:lnTo>
                <a:cubicBezTo>
                  <a:pt x="2275175" y="733803"/>
                  <a:pt x="2275007" y="733808"/>
                  <a:pt x="2274839" y="733861"/>
                </a:cubicBezTo>
                <a:cubicBezTo>
                  <a:pt x="2224564" y="1086726"/>
                  <a:pt x="1943525" y="1367503"/>
                  <a:pt x="1584673" y="1426902"/>
                </a:cubicBezTo>
                <a:lnTo>
                  <a:pt x="1584557" y="1428050"/>
                </a:lnTo>
                <a:cubicBezTo>
                  <a:pt x="1579247" y="1429061"/>
                  <a:pt x="1573918" y="1430009"/>
                  <a:pt x="1568341" y="1429590"/>
                </a:cubicBezTo>
                <a:cubicBezTo>
                  <a:pt x="1537169" y="1435144"/>
                  <a:pt x="1505289" y="1438125"/>
                  <a:pt x="1472914" y="1438652"/>
                </a:cubicBezTo>
                <a:lnTo>
                  <a:pt x="1455796" y="1440278"/>
                </a:lnTo>
                <a:lnTo>
                  <a:pt x="1455770" y="1439783"/>
                </a:lnTo>
                <a:lnTo>
                  <a:pt x="1455271" y="1439816"/>
                </a:lnTo>
                <a:cubicBezTo>
                  <a:pt x="1454705" y="1436014"/>
                  <a:pt x="1454678" y="1432198"/>
                  <a:pt x="1454678" y="1428376"/>
                </a:cubicBezTo>
                <a:cubicBezTo>
                  <a:pt x="1454678" y="1422694"/>
                  <a:pt x="1454736" y="1417025"/>
                  <a:pt x="1456048" y="1411395"/>
                </a:cubicBezTo>
                <a:cubicBezTo>
                  <a:pt x="1456006" y="1380067"/>
                  <a:pt x="1458456" y="1349182"/>
                  <a:pt x="1463513" y="1318938"/>
                </a:cubicBezTo>
                <a:lnTo>
                  <a:pt x="1464053" y="1312248"/>
                </a:lnTo>
                <a:cubicBezTo>
                  <a:pt x="1464221" y="1312243"/>
                  <a:pt x="1464391" y="1312238"/>
                  <a:pt x="1464558" y="1312185"/>
                </a:cubicBezTo>
                <a:cubicBezTo>
                  <a:pt x="1514835" y="959319"/>
                  <a:pt x="1795874" y="678542"/>
                  <a:pt x="2154724" y="619144"/>
                </a:cubicBezTo>
                <a:lnTo>
                  <a:pt x="2154841" y="617996"/>
                </a:lnTo>
                <a:cubicBezTo>
                  <a:pt x="2160150" y="616986"/>
                  <a:pt x="2165478" y="616038"/>
                  <a:pt x="2171054" y="616457"/>
                </a:cubicBezTo>
                <a:cubicBezTo>
                  <a:pt x="2202237" y="610900"/>
                  <a:pt x="2234130" y="607919"/>
                  <a:pt x="2266515" y="607392"/>
                </a:cubicBezTo>
                <a:close/>
                <a:moveTo>
                  <a:pt x="614203" y="605769"/>
                </a:moveTo>
                <a:lnTo>
                  <a:pt x="631290" y="607392"/>
                </a:lnTo>
                <a:cubicBezTo>
                  <a:pt x="663676" y="607919"/>
                  <a:pt x="695568" y="610900"/>
                  <a:pt x="726752" y="616457"/>
                </a:cubicBezTo>
                <a:cubicBezTo>
                  <a:pt x="732328" y="616038"/>
                  <a:pt x="737656" y="616986"/>
                  <a:pt x="742964" y="617996"/>
                </a:cubicBezTo>
                <a:lnTo>
                  <a:pt x="743081" y="619144"/>
                </a:lnTo>
                <a:cubicBezTo>
                  <a:pt x="1101932" y="678542"/>
                  <a:pt x="1382971" y="959319"/>
                  <a:pt x="1433247" y="1312185"/>
                </a:cubicBezTo>
                <a:cubicBezTo>
                  <a:pt x="1433415" y="1312238"/>
                  <a:pt x="1433584" y="1312243"/>
                  <a:pt x="1433753" y="1312248"/>
                </a:cubicBezTo>
                <a:lnTo>
                  <a:pt x="1434293" y="1318938"/>
                </a:lnTo>
                <a:cubicBezTo>
                  <a:pt x="1439350" y="1349182"/>
                  <a:pt x="1441799" y="1380067"/>
                  <a:pt x="1441757" y="1411395"/>
                </a:cubicBezTo>
                <a:cubicBezTo>
                  <a:pt x="1443069" y="1417025"/>
                  <a:pt x="1443128" y="1422694"/>
                  <a:pt x="1443128" y="1428376"/>
                </a:cubicBezTo>
                <a:cubicBezTo>
                  <a:pt x="1443128" y="1432198"/>
                  <a:pt x="1443101" y="1436014"/>
                  <a:pt x="1442535" y="1439816"/>
                </a:cubicBezTo>
                <a:lnTo>
                  <a:pt x="1442036" y="1439783"/>
                </a:lnTo>
                <a:lnTo>
                  <a:pt x="1442010" y="1440278"/>
                </a:lnTo>
                <a:lnTo>
                  <a:pt x="1424891" y="1438652"/>
                </a:lnTo>
                <a:cubicBezTo>
                  <a:pt x="1392517" y="1438125"/>
                  <a:pt x="1360637" y="1435144"/>
                  <a:pt x="1329465" y="1429590"/>
                </a:cubicBezTo>
                <a:cubicBezTo>
                  <a:pt x="1323888" y="1430009"/>
                  <a:pt x="1318559" y="1429061"/>
                  <a:pt x="1313248" y="1428050"/>
                </a:cubicBezTo>
                <a:lnTo>
                  <a:pt x="1313132" y="1426902"/>
                </a:lnTo>
                <a:cubicBezTo>
                  <a:pt x="954281" y="1367503"/>
                  <a:pt x="673242" y="1086726"/>
                  <a:pt x="622966" y="733861"/>
                </a:cubicBezTo>
                <a:cubicBezTo>
                  <a:pt x="622799" y="733808"/>
                  <a:pt x="622630" y="733803"/>
                  <a:pt x="622461" y="733798"/>
                </a:cubicBezTo>
                <a:lnTo>
                  <a:pt x="621923" y="727122"/>
                </a:lnTo>
                <a:cubicBezTo>
                  <a:pt x="616864" y="696872"/>
                  <a:pt x="614413" y="665981"/>
                  <a:pt x="614455" y="634646"/>
                </a:cubicBezTo>
                <a:cubicBezTo>
                  <a:pt x="613143" y="629018"/>
                  <a:pt x="613085" y="623351"/>
                  <a:pt x="613085" y="617670"/>
                </a:cubicBezTo>
                <a:lnTo>
                  <a:pt x="613679" y="606230"/>
                </a:lnTo>
                <a:lnTo>
                  <a:pt x="614177" y="606263"/>
                </a:lnTo>
                <a:close/>
                <a:moveTo>
                  <a:pt x="7360056" y="605769"/>
                </a:moveTo>
                <a:lnTo>
                  <a:pt x="7360082" y="606263"/>
                </a:lnTo>
                <a:lnTo>
                  <a:pt x="7360580" y="606230"/>
                </a:lnTo>
                <a:lnTo>
                  <a:pt x="7361174" y="617670"/>
                </a:lnTo>
                <a:cubicBezTo>
                  <a:pt x="7361174" y="623351"/>
                  <a:pt x="7361116" y="629018"/>
                  <a:pt x="7359804" y="634646"/>
                </a:cubicBezTo>
                <a:cubicBezTo>
                  <a:pt x="7359846" y="665981"/>
                  <a:pt x="7357395" y="696872"/>
                  <a:pt x="7352337" y="727122"/>
                </a:cubicBezTo>
                <a:lnTo>
                  <a:pt x="7351798" y="733798"/>
                </a:lnTo>
                <a:cubicBezTo>
                  <a:pt x="7351629" y="733803"/>
                  <a:pt x="7351460" y="733808"/>
                  <a:pt x="7351293" y="733861"/>
                </a:cubicBezTo>
                <a:cubicBezTo>
                  <a:pt x="7301017" y="1086726"/>
                  <a:pt x="7019978" y="1367503"/>
                  <a:pt x="6661127" y="1426902"/>
                </a:cubicBezTo>
                <a:lnTo>
                  <a:pt x="6661011" y="1428050"/>
                </a:lnTo>
                <a:cubicBezTo>
                  <a:pt x="6655700" y="1429061"/>
                  <a:pt x="6650371" y="1430009"/>
                  <a:pt x="6644794" y="1429590"/>
                </a:cubicBezTo>
                <a:cubicBezTo>
                  <a:pt x="6613622" y="1435144"/>
                  <a:pt x="6581742" y="1438125"/>
                  <a:pt x="6549368" y="1438652"/>
                </a:cubicBezTo>
                <a:lnTo>
                  <a:pt x="6532249" y="1440278"/>
                </a:lnTo>
                <a:lnTo>
                  <a:pt x="6532223" y="1439783"/>
                </a:lnTo>
                <a:lnTo>
                  <a:pt x="6531724" y="1439816"/>
                </a:lnTo>
                <a:cubicBezTo>
                  <a:pt x="6531158" y="1436014"/>
                  <a:pt x="6531131" y="1432198"/>
                  <a:pt x="6531131" y="1428376"/>
                </a:cubicBezTo>
                <a:cubicBezTo>
                  <a:pt x="6531131" y="1422694"/>
                  <a:pt x="6531190" y="1417025"/>
                  <a:pt x="6532502" y="1411395"/>
                </a:cubicBezTo>
                <a:cubicBezTo>
                  <a:pt x="6532460" y="1380067"/>
                  <a:pt x="6534909" y="1349182"/>
                  <a:pt x="6539966" y="1318938"/>
                </a:cubicBezTo>
                <a:lnTo>
                  <a:pt x="6540506" y="1312248"/>
                </a:lnTo>
                <a:cubicBezTo>
                  <a:pt x="6540675" y="1312243"/>
                  <a:pt x="6540844" y="1312238"/>
                  <a:pt x="6541012" y="1312185"/>
                </a:cubicBezTo>
                <a:cubicBezTo>
                  <a:pt x="6591288" y="959319"/>
                  <a:pt x="6872327" y="678542"/>
                  <a:pt x="7231178" y="619144"/>
                </a:cubicBezTo>
                <a:lnTo>
                  <a:pt x="7231295" y="617996"/>
                </a:lnTo>
                <a:cubicBezTo>
                  <a:pt x="7236603" y="616986"/>
                  <a:pt x="7241931" y="616038"/>
                  <a:pt x="7247507" y="616457"/>
                </a:cubicBezTo>
                <a:cubicBezTo>
                  <a:pt x="7278691" y="610900"/>
                  <a:pt x="7310583" y="607919"/>
                  <a:pt x="7342969" y="607392"/>
                </a:cubicBezTo>
                <a:close/>
                <a:moveTo>
                  <a:pt x="591452" y="605769"/>
                </a:moveTo>
                <a:lnTo>
                  <a:pt x="591478" y="606263"/>
                </a:lnTo>
                <a:lnTo>
                  <a:pt x="591976" y="606230"/>
                </a:lnTo>
                <a:lnTo>
                  <a:pt x="592570" y="617670"/>
                </a:lnTo>
                <a:cubicBezTo>
                  <a:pt x="592570" y="623351"/>
                  <a:pt x="592511" y="629018"/>
                  <a:pt x="591199" y="634646"/>
                </a:cubicBezTo>
                <a:cubicBezTo>
                  <a:pt x="591242" y="665981"/>
                  <a:pt x="588791" y="696872"/>
                  <a:pt x="583732" y="727122"/>
                </a:cubicBezTo>
                <a:lnTo>
                  <a:pt x="583194" y="733798"/>
                </a:lnTo>
                <a:cubicBezTo>
                  <a:pt x="583024" y="733803"/>
                  <a:pt x="582856" y="733808"/>
                  <a:pt x="582689" y="733861"/>
                </a:cubicBezTo>
                <a:cubicBezTo>
                  <a:pt x="537576" y="1050490"/>
                  <a:pt x="306662" y="1309076"/>
                  <a:pt x="0" y="1400276"/>
                </a:cubicBezTo>
                <a:lnTo>
                  <a:pt x="0" y="1267938"/>
                </a:lnTo>
                <a:cubicBezTo>
                  <a:pt x="229298" y="1185101"/>
                  <a:pt x="402181" y="989705"/>
                  <a:pt x="449203" y="750600"/>
                </a:cubicBezTo>
                <a:cubicBezTo>
                  <a:pt x="258971" y="791484"/>
                  <a:pt x="97576" y="906749"/>
                  <a:pt x="0" y="1064489"/>
                </a:cubicBezTo>
                <a:lnTo>
                  <a:pt x="0" y="857695"/>
                </a:lnTo>
                <a:cubicBezTo>
                  <a:pt x="121484" y="734788"/>
                  <a:pt x="282199" y="649000"/>
                  <a:pt x="462573" y="619144"/>
                </a:cubicBezTo>
                <a:lnTo>
                  <a:pt x="462690" y="617996"/>
                </a:lnTo>
                <a:cubicBezTo>
                  <a:pt x="467999" y="616986"/>
                  <a:pt x="473327" y="616038"/>
                  <a:pt x="478903" y="616457"/>
                </a:cubicBezTo>
                <a:cubicBezTo>
                  <a:pt x="510086" y="610900"/>
                  <a:pt x="541979" y="607919"/>
                  <a:pt x="574365" y="607392"/>
                </a:cubicBezTo>
                <a:close/>
                <a:moveTo>
                  <a:pt x="11969013" y="0"/>
                </a:moveTo>
                <a:lnTo>
                  <a:pt x="12180097" y="0"/>
                </a:lnTo>
                <a:cubicBezTo>
                  <a:pt x="12184579" y="2797"/>
                  <a:pt x="12188307" y="6390"/>
                  <a:pt x="12192000" y="10016"/>
                </a:cubicBezTo>
                <a:lnTo>
                  <a:pt x="12192000" y="210008"/>
                </a:lnTo>
                <a:cubicBezTo>
                  <a:pt x="12135666" y="124006"/>
                  <a:pt x="12059786" y="51396"/>
                  <a:pt x="11969013" y="0"/>
                </a:cubicBezTo>
                <a:close/>
                <a:moveTo>
                  <a:pt x="11640695" y="0"/>
                </a:moveTo>
                <a:lnTo>
                  <a:pt x="11775234" y="0"/>
                </a:lnTo>
                <a:cubicBezTo>
                  <a:pt x="11842228" y="193636"/>
                  <a:pt x="11995970" y="348667"/>
                  <a:pt x="12192000" y="421829"/>
                </a:cubicBezTo>
                <a:lnTo>
                  <a:pt x="12192000" y="553832"/>
                </a:lnTo>
                <a:cubicBezTo>
                  <a:pt x="11924422" y="471599"/>
                  <a:pt x="11715712" y="262771"/>
                  <a:pt x="11640695" y="0"/>
                </a:cubicBezTo>
                <a:close/>
                <a:moveTo>
                  <a:pt x="11023379" y="0"/>
                </a:moveTo>
                <a:lnTo>
                  <a:pt x="11232088" y="0"/>
                </a:lnTo>
                <a:cubicBezTo>
                  <a:pt x="11066618" y="98005"/>
                  <a:pt x="10947209" y="260867"/>
                  <a:pt x="10909358" y="451830"/>
                </a:cubicBezTo>
                <a:cubicBezTo>
                  <a:pt x="11153410" y="399791"/>
                  <a:pt x="11350000" y="226290"/>
                  <a:pt x="11427896" y="0"/>
                </a:cubicBezTo>
                <a:lnTo>
                  <a:pt x="11561912" y="0"/>
                </a:lnTo>
                <a:cubicBezTo>
                  <a:pt x="11477134" y="299826"/>
                  <a:pt x="11217862" y="529393"/>
                  <a:pt x="10895987" y="582253"/>
                </a:cubicBezTo>
                <a:lnTo>
                  <a:pt x="10895871" y="583392"/>
                </a:lnTo>
                <a:cubicBezTo>
                  <a:pt x="10890560" y="584395"/>
                  <a:pt x="10885231" y="585336"/>
                  <a:pt x="10879654" y="584920"/>
                </a:cubicBezTo>
                <a:cubicBezTo>
                  <a:pt x="10848482" y="590430"/>
                  <a:pt x="10816602" y="593388"/>
                  <a:pt x="10784227" y="593911"/>
                </a:cubicBezTo>
                <a:lnTo>
                  <a:pt x="10767109" y="595524"/>
                </a:lnTo>
                <a:lnTo>
                  <a:pt x="10767083" y="595033"/>
                </a:lnTo>
                <a:lnTo>
                  <a:pt x="10766584" y="595066"/>
                </a:lnTo>
                <a:cubicBezTo>
                  <a:pt x="10766018" y="591293"/>
                  <a:pt x="10765991" y="587507"/>
                  <a:pt x="10765991" y="583715"/>
                </a:cubicBezTo>
                <a:cubicBezTo>
                  <a:pt x="10765991" y="578078"/>
                  <a:pt x="10766050" y="572454"/>
                  <a:pt x="10767362" y="566868"/>
                </a:cubicBezTo>
                <a:cubicBezTo>
                  <a:pt x="10767319" y="535786"/>
                  <a:pt x="10769769" y="505143"/>
                  <a:pt x="10774826" y="475137"/>
                </a:cubicBezTo>
                <a:lnTo>
                  <a:pt x="10775366" y="468500"/>
                </a:lnTo>
                <a:cubicBezTo>
                  <a:pt x="10775535" y="468495"/>
                  <a:pt x="10775704" y="468490"/>
                  <a:pt x="10775872" y="468437"/>
                </a:cubicBezTo>
                <a:cubicBezTo>
                  <a:pt x="10802174" y="285283"/>
                  <a:pt x="10891635" y="121704"/>
                  <a:pt x="11023379" y="0"/>
                </a:cubicBezTo>
                <a:close/>
                <a:moveTo>
                  <a:pt x="9949555" y="0"/>
                </a:moveTo>
                <a:lnTo>
                  <a:pt x="10083571" y="0"/>
                </a:lnTo>
                <a:cubicBezTo>
                  <a:pt x="10161467" y="226290"/>
                  <a:pt x="10358057" y="399791"/>
                  <a:pt x="10602109" y="451830"/>
                </a:cubicBezTo>
                <a:cubicBezTo>
                  <a:pt x="10564258" y="260867"/>
                  <a:pt x="10444849" y="98005"/>
                  <a:pt x="10279379" y="0"/>
                </a:cubicBezTo>
                <a:lnTo>
                  <a:pt x="10488089" y="0"/>
                </a:lnTo>
                <a:cubicBezTo>
                  <a:pt x="10619833" y="121704"/>
                  <a:pt x="10709293" y="285283"/>
                  <a:pt x="10735596" y="468437"/>
                </a:cubicBezTo>
                <a:cubicBezTo>
                  <a:pt x="10735763" y="468490"/>
                  <a:pt x="10735932" y="468495"/>
                  <a:pt x="10736101" y="468500"/>
                </a:cubicBezTo>
                <a:lnTo>
                  <a:pt x="10736641" y="475137"/>
                </a:lnTo>
                <a:cubicBezTo>
                  <a:pt x="10741698" y="505143"/>
                  <a:pt x="10744148" y="535786"/>
                  <a:pt x="10744105" y="566868"/>
                </a:cubicBezTo>
                <a:cubicBezTo>
                  <a:pt x="10745417" y="572454"/>
                  <a:pt x="10745476" y="578078"/>
                  <a:pt x="10745476" y="583715"/>
                </a:cubicBezTo>
                <a:cubicBezTo>
                  <a:pt x="10745476" y="587507"/>
                  <a:pt x="10745449" y="591293"/>
                  <a:pt x="10744883" y="595066"/>
                </a:cubicBezTo>
                <a:lnTo>
                  <a:pt x="10744384" y="595033"/>
                </a:lnTo>
                <a:lnTo>
                  <a:pt x="10744358" y="595524"/>
                </a:lnTo>
                <a:lnTo>
                  <a:pt x="10727240" y="593911"/>
                </a:lnTo>
                <a:cubicBezTo>
                  <a:pt x="10694865" y="593388"/>
                  <a:pt x="10662985" y="590430"/>
                  <a:pt x="10631813" y="584920"/>
                </a:cubicBezTo>
                <a:cubicBezTo>
                  <a:pt x="10626236" y="585336"/>
                  <a:pt x="10620907" y="584395"/>
                  <a:pt x="10615596" y="583392"/>
                </a:cubicBezTo>
                <a:lnTo>
                  <a:pt x="10615480" y="582253"/>
                </a:lnTo>
                <a:cubicBezTo>
                  <a:pt x="10293605" y="529393"/>
                  <a:pt x="10034333" y="299826"/>
                  <a:pt x="9949555" y="0"/>
                </a:cubicBezTo>
                <a:close/>
                <a:moveTo>
                  <a:pt x="9331225" y="0"/>
                </a:moveTo>
                <a:lnTo>
                  <a:pt x="9539935" y="0"/>
                </a:lnTo>
                <a:cubicBezTo>
                  <a:pt x="9374465" y="98005"/>
                  <a:pt x="9255056" y="260867"/>
                  <a:pt x="9217205" y="451830"/>
                </a:cubicBezTo>
                <a:cubicBezTo>
                  <a:pt x="9461257" y="399791"/>
                  <a:pt x="9657847" y="226290"/>
                  <a:pt x="9735743" y="0"/>
                </a:cubicBezTo>
                <a:lnTo>
                  <a:pt x="9869759" y="0"/>
                </a:lnTo>
                <a:cubicBezTo>
                  <a:pt x="9784981" y="299826"/>
                  <a:pt x="9525709" y="529393"/>
                  <a:pt x="9203834" y="582253"/>
                </a:cubicBezTo>
                <a:lnTo>
                  <a:pt x="9203718" y="583392"/>
                </a:lnTo>
                <a:cubicBezTo>
                  <a:pt x="9198407" y="584395"/>
                  <a:pt x="9193078" y="585336"/>
                  <a:pt x="9187501" y="584920"/>
                </a:cubicBezTo>
                <a:cubicBezTo>
                  <a:pt x="9156329" y="590430"/>
                  <a:pt x="9124449" y="593388"/>
                  <a:pt x="9092074" y="593911"/>
                </a:cubicBezTo>
                <a:lnTo>
                  <a:pt x="9074956" y="595524"/>
                </a:lnTo>
                <a:lnTo>
                  <a:pt x="9074930" y="595033"/>
                </a:lnTo>
                <a:lnTo>
                  <a:pt x="9074431" y="595066"/>
                </a:lnTo>
                <a:cubicBezTo>
                  <a:pt x="9073865" y="591293"/>
                  <a:pt x="9073838" y="587507"/>
                  <a:pt x="9073838" y="583715"/>
                </a:cubicBezTo>
                <a:cubicBezTo>
                  <a:pt x="9073838" y="578078"/>
                  <a:pt x="9073897" y="572454"/>
                  <a:pt x="9075209" y="566868"/>
                </a:cubicBezTo>
                <a:cubicBezTo>
                  <a:pt x="9075166" y="535786"/>
                  <a:pt x="9077616" y="505143"/>
                  <a:pt x="9082673" y="475137"/>
                </a:cubicBezTo>
                <a:lnTo>
                  <a:pt x="9083213" y="468500"/>
                </a:lnTo>
                <a:cubicBezTo>
                  <a:pt x="9083382" y="468495"/>
                  <a:pt x="9083551" y="468490"/>
                  <a:pt x="9083718" y="468437"/>
                </a:cubicBezTo>
                <a:cubicBezTo>
                  <a:pt x="9110021" y="285283"/>
                  <a:pt x="9199481" y="121704"/>
                  <a:pt x="9331225" y="0"/>
                </a:cubicBezTo>
                <a:close/>
                <a:moveTo>
                  <a:pt x="8257405" y="0"/>
                </a:moveTo>
                <a:lnTo>
                  <a:pt x="8391420" y="0"/>
                </a:lnTo>
                <a:cubicBezTo>
                  <a:pt x="8469316" y="226290"/>
                  <a:pt x="8665906" y="399791"/>
                  <a:pt x="8909958" y="451830"/>
                </a:cubicBezTo>
                <a:cubicBezTo>
                  <a:pt x="8872107" y="260867"/>
                  <a:pt x="8752698" y="98005"/>
                  <a:pt x="8587228" y="0"/>
                </a:cubicBezTo>
                <a:lnTo>
                  <a:pt x="8795937" y="0"/>
                </a:lnTo>
                <a:cubicBezTo>
                  <a:pt x="8927681" y="121704"/>
                  <a:pt x="9017142" y="285283"/>
                  <a:pt x="9043444" y="468437"/>
                </a:cubicBezTo>
                <a:cubicBezTo>
                  <a:pt x="9043612" y="468490"/>
                  <a:pt x="9043781" y="468495"/>
                  <a:pt x="9043950" y="468500"/>
                </a:cubicBezTo>
                <a:lnTo>
                  <a:pt x="9044490" y="475137"/>
                </a:lnTo>
                <a:cubicBezTo>
                  <a:pt x="9049547" y="505143"/>
                  <a:pt x="9051997" y="535786"/>
                  <a:pt x="9051954" y="566868"/>
                </a:cubicBezTo>
                <a:cubicBezTo>
                  <a:pt x="9053266" y="572454"/>
                  <a:pt x="9053325" y="578078"/>
                  <a:pt x="9053325" y="583715"/>
                </a:cubicBezTo>
                <a:cubicBezTo>
                  <a:pt x="9053325" y="587507"/>
                  <a:pt x="9053298" y="591293"/>
                  <a:pt x="9052732" y="595066"/>
                </a:cubicBezTo>
                <a:lnTo>
                  <a:pt x="9052233" y="595033"/>
                </a:lnTo>
                <a:lnTo>
                  <a:pt x="9052207" y="595524"/>
                </a:lnTo>
                <a:lnTo>
                  <a:pt x="9035089" y="593911"/>
                </a:lnTo>
                <a:cubicBezTo>
                  <a:pt x="9002714" y="593388"/>
                  <a:pt x="8970834" y="590430"/>
                  <a:pt x="8939662" y="584920"/>
                </a:cubicBezTo>
                <a:cubicBezTo>
                  <a:pt x="8934085" y="585336"/>
                  <a:pt x="8928756" y="584395"/>
                  <a:pt x="8923445" y="583392"/>
                </a:cubicBezTo>
                <a:lnTo>
                  <a:pt x="8923329" y="582253"/>
                </a:lnTo>
                <a:cubicBezTo>
                  <a:pt x="8601454" y="529393"/>
                  <a:pt x="8342182" y="299826"/>
                  <a:pt x="8257405" y="0"/>
                </a:cubicBezTo>
                <a:close/>
                <a:moveTo>
                  <a:pt x="7639075" y="0"/>
                </a:moveTo>
                <a:lnTo>
                  <a:pt x="7847784" y="0"/>
                </a:lnTo>
                <a:cubicBezTo>
                  <a:pt x="7682314" y="98005"/>
                  <a:pt x="7562905" y="260867"/>
                  <a:pt x="7525054" y="451830"/>
                </a:cubicBezTo>
                <a:cubicBezTo>
                  <a:pt x="7769107" y="399791"/>
                  <a:pt x="7965696" y="226290"/>
                  <a:pt x="8043592" y="0"/>
                </a:cubicBezTo>
                <a:lnTo>
                  <a:pt x="8177609" y="0"/>
                </a:lnTo>
                <a:cubicBezTo>
                  <a:pt x="8092830" y="299826"/>
                  <a:pt x="7833558" y="529393"/>
                  <a:pt x="7511683" y="582253"/>
                </a:cubicBezTo>
                <a:lnTo>
                  <a:pt x="7511567" y="583392"/>
                </a:lnTo>
                <a:cubicBezTo>
                  <a:pt x="7506256" y="584395"/>
                  <a:pt x="7500927" y="585336"/>
                  <a:pt x="7495350" y="584920"/>
                </a:cubicBezTo>
                <a:cubicBezTo>
                  <a:pt x="7464178" y="590430"/>
                  <a:pt x="7432298" y="593388"/>
                  <a:pt x="7399924" y="593911"/>
                </a:cubicBezTo>
                <a:lnTo>
                  <a:pt x="7382805" y="595524"/>
                </a:lnTo>
                <a:lnTo>
                  <a:pt x="7382779" y="595033"/>
                </a:lnTo>
                <a:lnTo>
                  <a:pt x="7382280" y="595066"/>
                </a:lnTo>
                <a:cubicBezTo>
                  <a:pt x="7381714" y="591293"/>
                  <a:pt x="7381687" y="587507"/>
                  <a:pt x="7381687" y="583715"/>
                </a:cubicBezTo>
                <a:cubicBezTo>
                  <a:pt x="7381687" y="578078"/>
                  <a:pt x="7381746" y="572454"/>
                  <a:pt x="7383058" y="566868"/>
                </a:cubicBezTo>
                <a:cubicBezTo>
                  <a:pt x="7383016" y="535786"/>
                  <a:pt x="7385465" y="505143"/>
                  <a:pt x="7390522" y="475137"/>
                </a:cubicBezTo>
                <a:lnTo>
                  <a:pt x="7391062" y="468500"/>
                </a:lnTo>
                <a:cubicBezTo>
                  <a:pt x="7391231" y="468495"/>
                  <a:pt x="7391400" y="468490"/>
                  <a:pt x="7391568" y="468437"/>
                </a:cubicBezTo>
                <a:cubicBezTo>
                  <a:pt x="7417870" y="285283"/>
                  <a:pt x="7507331" y="121703"/>
                  <a:pt x="7639075" y="0"/>
                </a:cubicBezTo>
                <a:close/>
                <a:moveTo>
                  <a:pt x="6565254" y="0"/>
                </a:moveTo>
                <a:lnTo>
                  <a:pt x="6699270" y="0"/>
                </a:lnTo>
                <a:cubicBezTo>
                  <a:pt x="6777166" y="226290"/>
                  <a:pt x="6973755" y="399791"/>
                  <a:pt x="7217807" y="451830"/>
                </a:cubicBezTo>
                <a:cubicBezTo>
                  <a:pt x="7179956" y="260867"/>
                  <a:pt x="7060547" y="98005"/>
                  <a:pt x="6895077" y="0"/>
                </a:cubicBezTo>
                <a:lnTo>
                  <a:pt x="7103787" y="0"/>
                </a:lnTo>
                <a:cubicBezTo>
                  <a:pt x="7235531" y="121704"/>
                  <a:pt x="7324992" y="285283"/>
                  <a:pt x="7351294" y="468437"/>
                </a:cubicBezTo>
                <a:cubicBezTo>
                  <a:pt x="7351461" y="468490"/>
                  <a:pt x="7351631" y="468495"/>
                  <a:pt x="7351799" y="468500"/>
                </a:cubicBezTo>
                <a:lnTo>
                  <a:pt x="7352340" y="475137"/>
                </a:lnTo>
                <a:cubicBezTo>
                  <a:pt x="7357396" y="505143"/>
                  <a:pt x="7359846" y="535786"/>
                  <a:pt x="7359804" y="566868"/>
                </a:cubicBezTo>
                <a:cubicBezTo>
                  <a:pt x="7361116" y="572454"/>
                  <a:pt x="7361174" y="578078"/>
                  <a:pt x="7361174" y="583715"/>
                </a:cubicBezTo>
                <a:cubicBezTo>
                  <a:pt x="7361174" y="587507"/>
                  <a:pt x="7361147" y="591293"/>
                  <a:pt x="7360581" y="595066"/>
                </a:cubicBezTo>
                <a:lnTo>
                  <a:pt x="7360082" y="595033"/>
                </a:lnTo>
                <a:lnTo>
                  <a:pt x="7360056" y="595524"/>
                </a:lnTo>
                <a:lnTo>
                  <a:pt x="7342938" y="593911"/>
                </a:lnTo>
                <a:cubicBezTo>
                  <a:pt x="7310564" y="593388"/>
                  <a:pt x="7278683" y="590430"/>
                  <a:pt x="7247511" y="584920"/>
                </a:cubicBezTo>
                <a:cubicBezTo>
                  <a:pt x="7241934" y="585336"/>
                  <a:pt x="7236605" y="584395"/>
                  <a:pt x="7231295" y="583392"/>
                </a:cubicBezTo>
                <a:lnTo>
                  <a:pt x="7231179" y="582253"/>
                </a:lnTo>
                <a:cubicBezTo>
                  <a:pt x="6909304" y="529393"/>
                  <a:pt x="6650032" y="299826"/>
                  <a:pt x="6565254" y="0"/>
                </a:cubicBezTo>
                <a:close/>
                <a:moveTo>
                  <a:pt x="5946924" y="0"/>
                </a:moveTo>
                <a:lnTo>
                  <a:pt x="6155633" y="0"/>
                </a:lnTo>
                <a:cubicBezTo>
                  <a:pt x="5990163" y="98005"/>
                  <a:pt x="5870754" y="260867"/>
                  <a:pt x="5832903" y="451830"/>
                </a:cubicBezTo>
                <a:cubicBezTo>
                  <a:pt x="6076956" y="399791"/>
                  <a:pt x="6273545" y="226290"/>
                  <a:pt x="6351441" y="0"/>
                </a:cubicBezTo>
                <a:lnTo>
                  <a:pt x="6485457" y="0"/>
                </a:lnTo>
                <a:cubicBezTo>
                  <a:pt x="6400679" y="299826"/>
                  <a:pt x="6141407" y="529393"/>
                  <a:pt x="5819531" y="582253"/>
                </a:cubicBezTo>
                <a:lnTo>
                  <a:pt x="5819415" y="583392"/>
                </a:lnTo>
                <a:cubicBezTo>
                  <a:pt x="5814105" y="584395"/>
                  <a:pt x="5808776" y="585336"/>
                  <a:pt x="5803199" y="584920"/>
                </a:cubicBezTo>
                <a:cubicBezTo>
                  <a:pt x="5772027" y="590430"/>
                  <a:pt x="5740146" y="593388"/>
                  <a:pt x="5707772" y="593911"/>
                </a:cubicBezTo>
                <a:lnTo>
                  <a:pt x="5690654" y="595524"/>
                </a:lnTo>
                <a:lnTo>
                  <a:pt x="5690628" y="595033"/>
                </a:lnTo>
                <a:lnTo>
                  <a:pt x="5690129" y="595066"/>
                </a:lnTo>
                <a:cubicBezTo>
                  <a:pt x="5689563" y="591293"/>
                  <a:pt x="5689536" y="587507"/>
                  <a:pt x="5689536" y="583715"/>
                </a:cubicBezTo>
                <a:cubicBezTo>
                  <a:pt x="5689536" y="578078"/>
                  <a:pt x="5689594" y="572454"/>
                  <a:pt x="5690906" y="566868"/>
                </a:cubicBezTo>
                <a:cubicBezTo>
                  <a:pt x="5690864" y="535786"/>
                  <a:pt x="5693314" y="505143"/>
                  <a:pt x="5698370" y="475137"/>
                </a:cubicBezTo>
                <a:lnTo>
                  <a:pt x="5698911" y="468500"/>
                </a:lnTo>
                <a:cubicBezTo>
                  <a:pt x="5699079" y="468495"/>
                  <a:pt x="5699249" y="468490"/>
                  <a:pt x="5699416" y="468437"/>
                </a:cubicBezTo>
                <a:cubicBezTo>
                  <a:pt x="5725719" y="285283"/>
                  <a:pt x="5815180" y="121704"/>
                  <a:pt x="5946924" y="0"/>
                </a:cubicBezTo>
                <a:close/>
                <a:moveTo>
                  <a:pt x="4873102" y="0"/>
                </a:moveTo>
                <a:lnTo>
                  <a:pt x="5007119" y="0"/>
                </a:lnTo>
                <a:cubicBezTo>
                  <a:pt x="5085015" y="226291"/>
                  <a:pt x="5281604" y="399791"/>
                  <a:pt x="5525656" y="451830"/>
                </a:cubicBezTo>
                <a:cubicBezTo>
                  <a:pt x="5487805" y="260867"/>
                  <a:pt x="5368397" y="98005"/>
                  <a:pt x="5202927" y="0"/>
                </a:cubicBezTo>
                <a:lnTo>
                  <a:pt x="5411635" y="0"/>
                </a:lnTo>
                <a:cubicBezTo>
                  <a:pt x="5543380" y="121703"/>
                  <a:pt x="5632840" y="285283"/>
                  <a:pt x="5659142" y="468437"/>
                </a:cubicBezTo>
                <a:cubicBezTo>
                  <a:pt x="5659310" y="468490"/>
                  <a:pt x="5659479" y="468495"/>
                  <a:pt x="5659648" y="468499"/>
                </a:cubicBezTo>
                <a:lnTo>
                  <a:pt x="5660188" y="475137"/>
                </a:lnTo>
                <a:cubicBezTo>
                  <a:pt x="5665245" y="505143"/>
                  <a:pt x="5667694" y="535786"/>
                  <a:pt x="5667652" y="566868"/>
                </a:cubicBezTo>
                <a:cubicBezTo>
                  <a:pt x="5668964" y="572454"/>
                  <a:pt x="5669023" y="578078"/>
                  <a:pt x="5669023" y="583715"/>
                </a:cubicBezTo>
                <a:cubicBezTo>
                  <a:pt x="5669023" y="587508"/>
                  <a:pt x="5668996" y="591293"/>
                  <a:pt x="5668430" y="595066"/>
                </a:cubicBezTo>
                <a:lnTo>
                  <a:pt x="5667931" y="595033"/>
                </a:lnTo>
                <a:lnTo>
                  <a:pt x="5667905" y="595524"/>
                </a:lnTo>
                <a:lnTo>
                  <a:pt x="5650786" y="593911"/>
                </a:lnTo>
                <a:cubicBezTo>
                  <a:pt x="5618412" y="593388"/>
                  <a:pt x="5586532" y="590430"/>
                  <a:pt x="5555360" y="584920"/>
                </a:cubicBezTo>
                <a:cubicBezTo>
                  <a:pt x="5549783" y="585336"/>
                  <a:pt x="5544454" y="584395"/>
                  <a:pt x="5539143" y="583392"/>
                </a:cubicBezTo>
                <a:lnTo>
                  <a:pt x="5539027" y="582253"/>
                </a:lnTo>
                <a:cubicBezTo>
                  <a:pt x="5217153" y="529393"/>
                  <a:pt x="4957881" y="299826"/>
                  <a:pt x="4873102" y="0"/>
                </a:cubicBezTo>
                <a:close/>
                <a:moveTo>
                  <a:pt x="4254773" y="0"/>
                </a:moveTo>
                <a:lnTo>
                  <a:pt x="4463482" y="0"/>
                </a:lnTo>
                <a:cubicBezTo>
                  <a:pt x="4298012" y="98005"/>
                  <a:pt x="4178603" y="260867"/>
                  <a:pt x="4140752" y="451830"/>
                </a:cubicBezTo>
                <a:cubicBezTo>
                  <a:pt x="4384804" y="399791"/>
                  <a:pt x="4581394" y="226291"/>
                  <a:pt x="4659290" y="0"/>
                </a:cubicBezTo>
                <a:lnTo>
                  <a:pt x="4793306" y="0"/>
                </a:lnTo>
                <a:cubicBezTo>
                  <a:pt x="4708528" y="299826"/>
                  <a:pt x="4449256" y="529393"/>
                  <a:pt x="4127381" y="582253"/>
                </a:cubicBezTo>
                <a:lnTo>
                  <a:pt x="4127264" y="583392"/>
                </a:lnTo>
                <a:cubicBezTo>
                  <a:pt x="4121954" y="584395"/>
                  <a:pt x="4116625" y="585336"/>
                  <a:pt x="4111048" y="584920"/>
                </a:cubicBezTo>
                <a:cubicBezTo>
                  <a:pt x="4079876" y="590430"/>
                  <a:pt x="4047996" y="593388"/>
                  <a:pt x="4015621" y="593911"/>
                </a:cubicBezTo>
                <a:lnTo>
                  <a:pt x="3998503" y="595524"/>
                </a:lnTo>
                <a:lnTo>
                  <a:pt x="3998477" y="595033"/>
                </a:lnTo>
                <a:lnTo>
                  <a:pt x="3997978" y="595066"/>
                </a:lnTo>
                <a:cubicBezTo>
                  <a:pt x="3997412" y="591293"/>
                  <a:pt x="3997385" y="587507"/>
                  <a:pt x="3997385" y="583715"/>
                </a:cubicBezTo>
                <a:cubicBezTo>
                  <a:pt x="3997385" y="578078"/>
                  <a:pt x="3997443" y="572454"/>
                  <a:pt x="3998755" y="566868"/>
                </a:cubicBezTo>
                <a:cubicBezTo>
                  <a:pt x="3998713" y="535786"/>
                  <a:pt x="4001163" y="505143"/>
                  <a:pt x="4006219" y="475137"/>
                </a:cubicBezTo>
                <a:lnTo>
                  <a:pt x="4006760" y="468499"/>
                </a:lnTo>
                <a:cubicBezTo>
                  <a:pt x="4006928" y="468495"/>
                  <a:pt x="4007098" y="468490"/>
                  <a:pt x="4007265" y="468437"/>
                </a:cubicBezTo>
                <a:cubicBezTo>
                  <a:pt x="4033568" y="285283"/>
                  <a:pt x="4123028" y="121703"/>
                  <a:pt x="4254773" y="0"/>
                </a:cubicBezTo>
                <a:close/>
                <a:moveTo>
                  <a:pt x="3180951" y="0"/>
                </a:moveTo>
                <a:lnTo>
                  <a:pt x="3314968" y="0"/>
                </a:lnTo>
                <a:cubicBezTo>
                  <a:pt x="3392864" y="226291"/>
                  <a:pt x="3589453" y="399791"/>
                  <a:pt x="3833505" y="451830"/>
                </a:cubicBezTo>
                <a:cubicBezTo>
                  <a:pt x="3795654" y="260867"/>
                  <a:pt x="3676245" y="98005"/>
                  <a:pt x="3510776" y="0"/>
                </a:cubicBezTo>
                <a:lnTo>
                  <a:pt x="3719484" y="0"/>
                </a:lnTo>
                <a:cubicBezTo>
                  <a:pt x="3851229" y="121703"/>
                  <a:pt x="3940689" y="285283"/>
                  <a:pt x="3966991" y="468437"/>
                </a:cubicBezTo>
                <a:cubicBezTo>
                  <a:pt x="3967159" y="468490"/>
                  <a:pt x="3967328" y="468495"/>
                  <a:pt x="3967497" y="468499"/>
                </a:cubicBezTo>
                <a:lnTo>
                  <a:pt x="3968037" y="475137"/>
                </a:lnTo>
                <a:cubicBezTo>
                  <a:pt x="3973094" y="505143"/>
                  <a:pt x="3975543" y="535786"/>
                  <a:pt x="3975501" y="566868"/>
                </a:cubicBezTo>
                <a:cubicBezTo>
                  <a:pt x="3976813" y="572454"/>
                  <a:pt x="3976872" y="578078"/>
                  <a:pt x="3976872" y="583715"/>
                </a:cubicBezTo>
                <a:cubicBezTo>
                  <a:pt x="3976872" y="587508"/>
                  <a:pt x="3976845" y="591293"/>
                  <a:pt x="3976279" y="595066"/>
                </a:cubicBezTo>
                <a:lnTo>
                  <a:pt x="3975780" y="595033"/>
                </a:lnTo>
                <a:lnTo>
                  <a:pt x="3975754" y="595524"/>
                </a:lnTo>
                <a:lnTo>
                  <a:pt x="3958635" y="593911"/>
                </a:lnTo>
                <a:cubicBezTo>
                  <a:pt x="3926261" y="593388"/>
                  <a:pt x="3894381" y="590430"/>
                  <a:pt x="3863209" y="584920"/>
                </a:cubicBezTo>
                <a:cubicBezTo>
                  <a:pt x="3857632" y="585336"/>
                  <a:pt x="3852303" y="584395"/>
                  <a:pt x="3846992" y="583392"/>
                </a:cubicBezTo>
                <a:lnTo>
                  <a:pt x="3846876" y="582253"/>
                </a:lnTo>
                <a:cubicBezTo>
                  <a:pt x="3525002" y="529393"/>
                  <a:pt x="3265729" y="299826"/>
                  <a:pt x="3180951" y="0"/>
                </a:cubicBezTo>
                <a:close/>
                <a:moveTo>
                  <a:pt x="2562622" y="0"/>
                </a:moveTo>
                <a:lnTo>
                  <a:pt x="2771330" y="0"/>
                </a:lnTo>
                <a:cubicBezTo>
                  <a:pt x="2605861" y="98005"/>
                  <a:pt x="2486452" y="260867"/>
                  <a:pt x="2448601" y="451830"/>
                </a:cubicBezTo>
                <a:cubicBezTo>
                  <a:pt x="2692653" y="399791"/>
                  <a:pt x="2889242" y="226291"/>
                  <a:pt x="2967139" y="0"/>
                </a:cubicBezTo>
                <a:lnTo>
                  <a:pt x="3101155" y="0"/>
                </a:lnTo>
                <a:cubicBezTo>
                  <a:pt x="3016377" y="299826"/>
                  <a:pt x="2757105" y="529393"/>
                  <a:pt x="2435230" y="582253"/>
                </a:cubicBezTo>
                <a:lnTo>
                  <a:pt x="2435113" y="583392"/>
                </a:lnTo>
                <a:cubicBezTo>
                  <a:pt x="2429803" y="584395"/>
                  <a:pt x="2424474" y="585336"/>
                  <a:pt x="2418897" y="584920"/>
                </a:cubicBezTo>
                <a:cubicBezTo>
                  <a:pt x="2387725" y="590430"/>
                  <a:pt x="2355845" y="593388"/>
                  <a:pt x="2323470" y="593911"/>
                </a:cubicBezTo>
                <a:lnTo>
                  <a:pt x="2306352" y="595524"/>
                </a:lnTo>
                <a:lnTo>
                  <a:pt x="2306326" y="595033"/>
                </a:lnTo>
                <a:lnTo>
                  <a:pt x="2305827" y="595066"/>
                </a:lnTo>
                <a:cubicBezTo>
                  <a:pt x="2305261" y="591293"/>
                  <a:pt x="2305234" y="587507"/>
                  <a:pt x="2305234" y="583715"/>
                </a:cubicBezTo>
                <a:cubicBezTo>
                  <a:pt x="2305234" y="578078"/>
                  <a:pt x="2305292" y="572454"/>
                  <a:pt x="2306604" y="566868"/>
                </a:cubicBezTo>
                <a:cubicBezTo>
                  <a:pt x="2306562" y="535786"/>
                  <a:pt x="2309012" y="505143"/>
                  <a:pt x="2314068" y="475137"/>
                </a:cubicBezTo>
                <a:lnTo>
                  <a:pt x="2314609" y="468499"/>
                </a:lnTo>
                <a:cubicBezTo>
                  <a:pt x="2314777" y="468495"/>
                  <a:pt x="2314947" y="468490"/>
                  <a:pt x="2315114" y="468437"/>
                </a:cubicBezTo>
                <a:cubicBezTo>
                  <a:pt x="2341417" y="285283"/>
                  <a:pt x="2430877" y="121704"/>
                  <a:pt x="2562622" y="0"/>
                </a:cubicBezTo>
                <a:close/>
                <a:moveTo>
                  <a:pt x="1488800" y="0"/>
                </a:moveTo>
                <a:lnTo>
                  <a:pt x="1622816" y="0"/>
                </a:lnTo>
                <a:cubicBezTo>
                  <a:pt x="1700712" y="226290"/>
                  <a:pt x="1897302" y="399791"/>
                  <a:pt x="2141354" y="451830"/>
                </a:cubicBezTo>
                <a:cubicBezTo>
                  <a:pt x="2103503" y="260867"/>
                  <a:pt x="1984094" y="98005"/>
                  <a:pt x="1818624" y="0"/>
                </a:cubicBezTo>
                <a:lnTo>
                  <a:pt x="2027333" y="0"/>
                </a:lnTo>
                <a:cubicBezTo>
                  <a:pt x="2159078" y="121703"/>
                  <a:pt x="2248538" y="285283"/>
                  <a:pt x="2274840" y="468437"/>
                </a:cubicBezTo>
                <a:cubicBezTo>
                  <a:pt x="2275008" y="468490"/>
                  <a:pt x="2275177" y="468495"/>
                  <a:pt x="2275346" y="468500"/>
                </a:cubicBezTo>
                <a:lnTo>
                  <a:pt x="2275886" y="475137"/>
                </a:lnTo>
                <a:cubicBezTo>
                  <a:pt x="2280943" y="505143"/>
                  <a:pt x="2283392" y="535786"/>
                  <a:pt x="2283350" y="566868"/>
                </a:cubicBezTo>
                <a:cubicBezTo>
                  <a:pt x="2284662" y="572454"/>
                  <a:pt x="2284721" y="578078"/>
                  <a:pt x="2284721" y="583715"/>
                </a:cubicBezTo>
                <a:cubicBezTo>
                  <a:pt x="2284721" y="587508"/>
                  <a:pt x="2284694" y="591293"/>
                  <a:pt x="2284128" y="595066"/>
                </a:cubicBezTo>
                <a:lnTo>
                  <a:pt x="2283629" y="595033"/>
                </a:lnTo>
                <a:lnTo>
                  <a:pt x="2283603" y="595524"/>
                </a:lnTo>
                <a:lnTo>
                  <a:pt x="2266484" y="593911"/>
                </a:lnTo>
                <a:cubicBezTo>
                  <a:pt x="2234110" y="593388"/>
                  <a:pt x="2202230" y="590430"/>
                  <a:pt x="2171058" y="584920"/>
                </a:cubicBezTo>
                <a:cubicBezTo>
                  <a:pt x="2165481" y="585336"/>
                  <a:pt x="2160152" y="584395"/>
                  <a:pt x="2154841" y="583392"/>
                </a:cubicBezTo>
                <a:lnTo>
                  <a:pt x="2154725" y="582253"/>
                </a:lnTo>
                <a:cubicBezTo>
                  <a:pt x="1832850" y="529393"/>
                  <a:pt x="1573578" y="299826"/>
                  <a:pt x="1488800" y="0"/>
                </a:cubicBezTo>
                <a:close/>
                <a:moveTo>
                  <a:pt x="870471" y="0"/>
                </a:moveTo>
                <a:lnTo>
                  <a:pt x="1079179" y="0"/>
                </a:lnTo>
                <a:cubicBezTo>
                  <a:pt x="913710" y="98005"/>
                  <a:pt x="794301" y="260867"/>
                  <a:pt x="756450" y="451830"/>
                </a:cubicBezTo>
                <a:cubicBezTo>
                  <a:pt x="1000502" y="399791"/>
                  <a:pt x="1197091" y="226291"/>
                  <a:pt x="1274988" y="0"/>
                </a:cubicBezTo>
                <a:lnTo>
                  <a:pt x="1409004" y="0"/>
                </a:lnTo>
                <a:cubicBezTo>
                  <a:pt x="1324226" y="299826"/>
                  <a:pt x="1064954" y="529393"/>
                  <a:pt x="743078" y="582253"/>
                </a:cubicBezTo>
                <a:lnTo>
                  <a:pt x="742962" y="583392"/>
                </a:lnTo>
                <a:cubicBezTo>
                  <a:pt x="737652" y="584395"/>
                  <a:pt x="732323" y="585336"/>
                  <a:pt x="726746" y="584920"/>
                </a:cubicBezTo>
                <a:cubicBezTo>
                  <a:pt x="695574" y="590430"/>
                  <a:pt x="663693" y="593388"/>
                  <a:pt x="631319" y="593911"/>
                </a:cubicBezTo>
                <a:lnTo>
                  <a:pt x="614201" y="595524"/>
                </a:lnTo>
                <a:lnTo>
                  <a:pt x="614175" y="595033"/>
                </a:lnTo>
                <a:lnTo>
                  <a:pt x="613676" y="595066"/>
                </a:lnTo>
                <a:cubicBezTo>
                  <a:pt x="613110" y="591293"/>
                  <a:pt x="613083" y="587507"/>
                  <a:pt x="613083" y="583715"/>
                </a:cubicBezTo>
                <a:cubicBezTo>
                  <a:pt x="613083" y="578078"/>
                  <a:pt x="613141" y="572454"/>
                  <a:pt x="614453" y="566868"/>
                </a:cubicBezTo>
                <a:cubicBezTo>
                  <a:pt x="614411" y="535786"/>
                  <a:pt x="616861" y="505143"/>
                  <a:pt x="621918" y="475137"/>
                </a:cubicBezTo>
                <a:lnTo>
                  <a:pt x="622458" y="468499"/>
                </a:lnTo>
                <a:cubicBezTo>
                  <a:pt x="622626" y="468495"/>
                  <a:pt x="622796" y="468490"/>
                  <a:pt x="622963" y="468437"/>
                </a:cubicBezTo>
                <a:cubicBezTo>
                  <a:pt x="649266" y="285283"/>
                  <a:pt x="738726" y="121703"/>
                  <a:pt x="870471" y="0"/>
                </a:cubicBezTo>
                <a:close/>
                <a:moveTo>
                  <a:pt x="126374" y="0"/>
                </a:moveTo>
                <a:lnTo>
                  <a:pt x="334376" y="0"/>
                </a:lnTo>
                <a:cubicBezTo>
                  <a:pt x="466684" y="121261"/>
                  <a:pt x="556352" y="285035"/>
                  <a:pt x="582690" y="468437"/>
                </a:cubicBezTo>
                <a:cubicBezTo>
                  <a:pt x="582857" y="468490"/>
                  <a:pt x="583026" y="468495"/>
                  <a:pt x="583195" y="468499"/>
                </a:cubicBezTo>
                <a:lnTo>
                  <a:pt x="583735" y="475137"/>
                </a:lnTo>
                <a:cubicBezTo>
                  <a:pt x="588792" y="505143"/>
                  <a:pt x="591242" y="535786"/>
                  <a:pt x="591199" y="566868"/>
                </a:cubicBezTo>
                <a:cubicBezTo>
                  <a:pt x="592511" y="572454"/>
                  <a:pt x="592570" y="578078"/>
                  <a:pt x="592570" y="583715"/>
                </a:cubicBezTo>
                <a:cubicBezTo>
                  <a:pt x="592570" y="587507"/>
                  <a:pt x="592543" y="591293"/>
                  <a:pt x="591977" y="595066"/>
                </a:cubicBezTo>
                <a:lnTo>
                  <a:pt x="591478" y="595033"/>
                </a:lnTo>
                <a:lnTo>
                  <a:pt x="591452" y="595524"/>
                </a:lnTo>
                <a:lnTo>
                  <a:pt x="574334" y="593911"/>
                </a:lnTo>
                <a:cubicBezTo>
                  <a:pt x="541959" y="593388"/>
                  <a:pt x="510079" y="590430"/>
                  <a:pt x="478907" y="584920"/>
                </a:cubicBezTo>
                <a:cubicBezTo>
                  <a:pt x="473330" y="585336"/>
                  <a:pt x="468001" y="584395"/>
                  <a:pt x="462690" y="583392"/>
                </a:cubicBezTo>
                <a:lnTo>
                  <a:pt x="462574" y="582253"/>
                </a:lnTo>
                <a:cubicBezTo>
                  <a:pt x="282200" y="552631"/>
                  <a:pt x="121485" y="467518"/>
                  <a:pt x="0" y="345575"/>
                </a:cubicBezTo>
                <a:lnTo>
                  <a:pt x="0" y="140406"/>
                </a:lnTo>
                <a:cubicBezTo>
                  <a:pt x="97584" y="296912"/>
                  <a:pt x="258975" y="411268"/>
                  <a:pt x="449203" y="451830"/>
                </a:cubicBezTo>
                <a:cubicBezTo>
                  <a:pt x="411344" y="260824"/>
                  <a:pt x="291889" y="97931"/>
                  <a:pt x="12637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7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b="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10600" y="4960137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00"/>
            <a:fld id="{E97C7263-54AC-40AC-8846-33E9330CE4FE}" type="datetime1">
              <a:rPr lang="en-US" smtClean="0">
                <a:solidFill>
                  <a:srgbClr val="000000"/>
                </a:solidFill>
              </a:rPr>
              <a:pPr defTabSz="914400"/>
              <a:t>4/21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4FAB73BC-B049-4115-A692-8D63A059BFB8}" type="slidenum">
              <a:rPr lang="en-US" smtClean="0">
                <a:solidFill>
                  <a:srgbClr val="000000"/>
                </a:solidFill>
              </a:rPr>
              <a:pPr defTabSz="914400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40131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24127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89320" y="2286000"/>
            <a:ext cx="475488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C6A301-0538-44EC-B09D-202E1042A48B}" type="datetimeFigureOut">
              <a:rPr lang="en-US" dirty="0"/>
              <a:t>4/21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830058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300" b="0" cap="none" baseline="0">
                <a:solidFill>
                  <a:schemeClr val="accent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2412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990888" y="2179636"/>
            <a:ext cx="4754880" cy="822960"/>
          </a:xfrm>
        </p:spPr>
        <p:txBody>
          <a:bodyPr lIns="137160" rIns="137160" anchor="ctr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2300" b="0" kern="1200" cap="none" baseline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990888" y="2967788"/>
            <a:ext cx="4754880" cy="334157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9574A-8875-45EF-8EA2-3CAA0F7ABC4C}" type="datetimeFigureOut">
              <a:rPr lang="en-US" dirty="0"/>
              <a:t>4/21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92199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F4D4C-5367-4C26-9E2B-D8088D7FCA81}" type="datetimeFigureOut">
              <a:rPr lang="en-US" dirty="0"/>
              <a:t>4/21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41A34D7-7BCB-4E8D-B198-0D355B3A72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41A34D7-7BCB-4E8D-B198-0D355B3A72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207512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91E96-98B0-4413-9547-46F3504108EF}" type="datetimeFigureOut">
              <a:rPr lang="en-US" dirty="0"/>
              <a:t>4/21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82517F-2BD3-4C4F-BF4A-79C1AC5E09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82517F-2BD3-4C4F-BF4A-79C1AC5E098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490316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4128" y="471509"/>
            <a:ext cx="4389120" cy="1737360"/>
          </a:xfrm>
        </p:spPr>
        <p:txBody>
          <a:bodyPr>
            <a:noAutofit/>
          </a:bodyPr>
          <a:lstStyle>
            <a:lvl1pPr>
              <a:lnSpc>
                <a:spcPct val="8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000" y="822960"/>
            <a:ext cx="5678424" cy="518464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24128" y="2257506"/>
            <a:ext cx="4389120" cy="3762294"/>
          </a:xfrm>
        </p:spPr>
        <p:txBody>
          <a:bodyPr lIns="91440" rIns="91440">
            <a:normAutofit/>
          </a:bodyPr>
          <a:lstStyle>
            <a:lvl1pPr marL="0" indent="0">
              <a:lnSpc>
                <a:spcPct val="108000"/>
              </a:lnSpc>
              <a:spcBef>
                <a:spcPts val="600"/>
              </a:spcBef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400"/>
            <a:fld id="{A2D47F15-5B45-4D96-A5FA-11AF31FF42FB}" type="datetime1">
              <a:rPr lang="en-US" smtClean="0">
                <a:solidFill>
                  <a:srgbClr val="000000"/>
                </a:solidFill>
              </a:rPr>
              <a:pPr defTabSz="914400"/>
              <a:t>4/21/201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4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400"/>
            <a:fld id="{4FAB73BC-B049-4115-A692-8D63A059BFB8}" type="slidenum">
              <a:rPr lang="en-US" smtClean="0">
                <a:solidFill>
                  <a:srgbClr val="000000"/>
                </a:solidFill>
              </a:rPr>
              <a:pPr defTabSz="914400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80195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960138"/>
            <a:ext cx="7772400" cy="1463040"/>
          </a:xfrm>
        </p:spPr>
        <p:txBody>
          <a:bodyPr anchor="ctr">
            <a:normAutofit/>
          </a:bodyPr>
          <a:lstStyle>
            <a:lvl1pPr algn="r">
              <a:defRPr sz="5000" spc="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-1"/>
            <a:ext cx="12188952" cy="4572000"/>
          </a:xfrm>
          <a:solidFill>
            <a:schemeClr val="accent1">
              <a:lumMod val="60000"/>
              <a:lumOff val="40000"/>
            </a:schemeClr>
          </a:solidFill>
        </p:spPr>
        <p:txBody>
          <a:bodyPr lIns="457200" tIns="365760" rIns="45720" bIns="4572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10600" y="4960138"/>
            <a:ext cx="3200400" cy="1463040"/>
          </a:xfrm>
        </p:spPr>
        <p:txBody>
          <a:bodyPr lIns="91440" rIns="91440" anchor="ctr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16CA0-919D-4A49-9C8A-62FDFB3A5183}" type="datetimeFigureOut">
              <a:rPr lang="en-US" dirty="0"/>
              <a:t>4/21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7E5644-1E61-4311-A31E-84CB9C7AA8A9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8386843" y="5264106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54093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4128" y="585216"/>
            <a:ext cx="9720072" cy="1499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24128" y="2286000"/>
            <a:ext cx="9720073" cy="4023360"/>
          </a:xfrm>
          <a:prstGeom prst="rect">
            <a:avLst/>
          </a:prstGeom>
        </p:spPr>
        <p:txBody>
          <a:bodyPr vert="horz" lIns="45720" tIns="45720" rIns="4572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24129" y="6470704"/>
            <a:ext cx="2154143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pPr defTabSz="914400"/>
            <a:fld id="{8997BC8A-5D98-4B8C-93D6-86DD26C2CF1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4/21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42932" y="6470704"/>
            <a:ext cx="5901459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baseline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pPr defTabSz="914400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7333" y="6470704"/>
            <a:ext cx="973667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</a:defRPr>
            </a:lvl1pPr>
          </a:lstStyle>
          <a:p>
            <a:pPr defTabSz="914400"/>
            <a:fld id="{D89C5A73-9E14-4C87-A41B-EC654F3EEC9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4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762000" y="826324"/>
            <a:ext cx="0" cy="91440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9348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52" r:id="rId12"/>
    <p:sldLayoutId id="2147483753" r:id="rId13"/>
    <p:sldLayoutId id="2147483754" r:id="rId14"/>
    <p:sldLayoutId id="2147483755" r:id="rId15"/>
    <p:sldLayoutId id="2147483760" r:id="rId16"/>
    <p:sldLayoutId id="2147483750" r:id="rId17"/>
  </p:sldLayoutIdLst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5000" kern="1200" cap="all" spc="100" baseline="0">
          <a:solidFill>
            <a:schemeClr val="tx1">
              <a:lumMod val="95000"/>
              <a:lumOff val="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Tw Cen MT" panose="020B0602020104020603" pitchFamily="34" charset="0"/>
        <a:buChar char=" 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26517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480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7724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914400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60704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16152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362456" indent="-13716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Wingdings 3" pitchFamily="18" charset="2"/>
        <a:buChar char="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0.xml"/><Relationship Id="rId7" Type="http://schemas.microsoft.com/office/2007/relationships/diagramDrawing" Target="../diagrams/drawing10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0.xml"/><Relationship Id="rId5" Type="http://schemas.openxmlformats.org/officeDocument/2006/relationships/diagramQuickStyle" Target="../diagrams/quickStyle10.xml"/><Relationship Id="rId4" Type="http://schemas.openxmlformats.org/officeDocument/2006/relationships/diagramLayout" Target="../diagrams/layout1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://store.samhsa.gov/product/Permanent-Supportive-Housing-Evidence-Based-Practices-EBP-KIT/SMA10-4510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csh.org/wp-content/uploads/2011/12/Tool_DevelopingSupport_Guide.pdf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armreduction.org/about-us/principles-of-harm-reduction/" TargetMode="External"/><Relationship Id="rId2" Type="http://schemas.openxmlformats.org/officeDocument/2006/relationships/hyperlink" Target="http://usich.gov/resources/uploads/asset_library/Housing_First_Checklist_FINAL.pdf" TargetMode="Externa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motivationalinterviewing.org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13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D714794-161E-4890-9709-29D60399F1A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Housing First and ending homelessnes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8C57AE4-2646-4BCB-AACC-C68F8A1FB5D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INDIANA DEVELOPMENT DAY SPRING 2019</a:t>
            </a:r>
          </a:p>
        </p:txBody>
      </p:sp>
    </p:spTree>
    <p:extLst>
      <p:ext uri="{BB962C8B-B14F-4D97-AF65-F5344CB8AC3E}">
        <p14:creationId xmlns:p14="http://schemas.microsoft.com/office/powerpoint/2010/main" val="399979696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0539" y="136524"/>
            <a:ext cx="9720072" cy="1499616"/>
          </a:xfrm>
        </p:spPr>
        <p:txBody>
          <a:bodyPr>
            <a:noAutofit/>
          </a:bodyPr>
          <a:lstStyle/>
          <a:p>
            <a:r>
              <a:rPr lang="en-US" sz="4400" dirty="0"/>
              <a:t>Housing First in Permanent Housing</a:t>
            </a:r>
            <a:endParaRPr lang="en-US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19924272"/>
              </p:ext>
            </p:extLst>
          </p:nvPr>
        </p:nvGraphicFramePr>
        <p:xfrm>
          <a:off x="1895169" y="1315324"/>
          <a:ext cx="8458199" cy="44021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5" name="Picture 2" descr="http://stage.newpathstopurpose.org/uploads/feature-backgrounds/3Pensive_homeless_woman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39" y="2796363"/>
            <a:ext cx="3305175" cy="2488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50867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871" y="239098"/>
            <a:ext cx="9720072" cy="1499616"/>
          </a:xfrm>
        </p:spPr>
        <p:txBody>
          <a:bodyPr>
            <a:noAutofit/>
          </a:bodyPr>
          <a:lstStyle/>
          <a:p>
            <a:r>
              <a:rPr lang="en-US" sz="4400" dirty="0"/>
              <a:t>Prepar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1110" y="1288026"/>
            <a:ext cx="7393858" cy="4581068"/>
          </a:xfrm>
        </p:spPr>
        <p:txBody>
          <a:bodyPr>
            <a:normAutofit/>
          </a:bodyPr>
          <a:lstStyle/>
          <a:p>
            <a:r>
              <a:rPr lang="en-US" sz="2800" dirty="0"/>
              <a:t>Targeting: Low barrier approach – Every Person deserves housing</a:t>
            </a:r>
          </a:p>
          <a:p>
            <a:r>
              <a:rPr lang="en-US" sz="2800" dirty="0"/>
              <a:t>High expectations:  The same rights and responsibilities as anyone else in the community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600" dirty="0"/>
              <a:t>No special rules for a homeless populatio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600" dirty="0"/>
              <a:t>Everyone is expected to follow a leas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600" dirty="0"/>
              <a:t>Case Management is focused on every family assuming full rights and responsibilities of tenancy</a:t>
            </a:r>
          </a:p>
          <a:p>
            <a:pPr marL="0" indent="0">
              <a:buNone/>
            </a:pPr>
            <a:r>
              <a:rPr lang="en-US" sz="2800" dirty="0"/>
              <a:t>Engage: look for comfort and go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1884" y="2418735"/>
            <a:ext cx="2918645" cy="2382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89581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0"/>
            <a:ext cx="9720072" cy="2084832"/>
          </a:xfrm>
        </p:spPr>
        <p:txBody>
          <a:bodyPr>
            <a:noAutofit/>
          </a:bodyPr>
          <a:lstStyle/>
          <a:p>
            <a:r>
              <a:rPr lang="en-US" sz="4400" dirty="0"/>
              <a:t>Educ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942" y="1209369"/>
            <a:ext cx="7846142" cy="4847302"/>
          </a:xfrm>
        </p:spPr>
        <p:txBody>
          <a:bodyPr>
            <a:normAutofit/>
          </a:bodyPr>
          <a:lstStyle/>
          <a:p>
            <a:pPr>
              <a:spcBef>
                <a:spcPts val="600"/>
              </a:spcBef>
            </a:pPr>
            <a:r>
              <a:rPr lang="en-US" sz="2800" dirty="0"/>
              <a:t>Choice is based on knowledge</a:t>
            </a:r>
          </a:p>
          <a:p>
            <a:pPr>
              <a:spcBef>
                <a:spcPts val="600"/>
              </a:spcBef>
            </a:pPr>
            <a:r>
              <a:rPr lang="en-US" sz="2800" dirty="0"/>
              <a:t>Educate each participant about housing options and expectations</a:t>
            </a:r>
          </a:p>
          <a:p>
            <a:pPr>
              <a:spcBef>
                <a:spcPts val="600"/>
              </a:spcBef>
            </a:pPr>
            <a:r>
              <a:rPr lang="en-US" sz="2800" dirty="0"/>
              <a:t>Engage in an evaluative conversation: what would work best for each person</a:t>
            </a:r>
          </a:p>
          <a:p>
            <a:pPr>
              <a:spcBef>
                <a:spcPts val="600"/>
              </a:spcBef>
            </a:pPr>
            <a:r>
              <a:rPr lang="en-US" sz="2800" dirty="0"/>
              <a:t>Explain the worker role and responsibilities</a:t>
            </a:r>
          </a:p>
          <a:p>
            <a:pPr>
              <a:spcBef>
                <a:spcPts val="600"/>
              </a:spcBef>
            </a:pPr>
            <a:r>
              <a:rPr lang="en-US" sz="2800" dirty="0"/>
              <a:t>Assess and establish goals for housing access and retention</a:t>
            </a:r>
          </a:p>
          <a:p>
            <a:pPr>
              <a:spcBef>
                <a:spcPts val="600"/>
              </a:spcBef>
            </a:pPr>
            <a:r>
              <a:rPr lang="en-US" sz="2800" dirty="0"/>
              <a:t>Engagement is based on each participant seeing the benefit of the intera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pPr/>
              <a:t>12</a:t>
            </a:fld>
            <a:endParaRPr lang="en-US" dirty="0"/>
          </a:p>
        </p:txBody>
      </p:sp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2842" y="2478805"/>
            <a:ext cx="2619375" cy="21521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5269900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934321" y="291302"/>
            <a:ext cx="9720072" cy="1499616"/>
          </a:xfrm>
        </p:spPr>
        <p:txBody>
          <a:bodyPr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4400" dirty="0"/>
              <a:t>Motivation and Change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idx="1"/>
          </p:nvPr>
        </p:nvSpPr>
        <p:spPr>
          <a:xfrm>
            <a:off x="491613" y="1170040"/>
            <a:ext cx="11248103" cy="4827638"/>
          </a:xfrm>
        </p:spPr>
        <p:txBody>
          <a:bodyPr>
            <a:normAutofit lnSpcReduction="10000"/>
          </a:bodyPr>
          <a:lstStyle/>
          <a:p>
            <a:pPr eaLnBrk="1" fontAlgn="auto" hangingPunct="1">
              <a:lnSpc>
                <a:spcPct val="90000"/>
              </a:lnSpc>
              <a:spcBef>
                <a:spcPct val="15000"/>
              </a:spcBef>
              <a:spcAft>
                <a:spcPct val="5000"/>
              </a:spcAft>
              <a:buFont typeface="Arial" panose="020B0604020202020204" pitchFamily="34" charset="0"/>
              <a:buChar char="•"/>
              <a:defRPr/>
            </a:pPr>
            <a:r>
              <a:rPr lang="en-US" sz="2800" dirty="0"/>
              <a:t>Motivation is behavior specific (people have different responses to different issues)</a:t>
            </a:r>
          </a:p>
          <a:p>
            <a:pPr eaLnBrk="1" fontAlgn="auto" hangingPunct="1">
              <a:lnSpc>
                <a:spcPct val="90000"/>
              </a:lnSpc>
              <a:spcBef>
                <a:spcPct val="15000"/>
              </a:spcBef>
              <a:spcAft>
                <a:spcPct val="5000"/>
              </a:spcAft>
              <a:buFont typeface="Arial" panose="020B0604020202020204" pitchFamily="34" charset="0"/>
              <a:buChar char="•"/>
              <a:defRPr/>
            </a:pPr>
            <a:r>
              <a:rPr lang="en-US" sz="2800" dirty="0"/>
              <a:t>Each person is motivated to change by unique factors</a:t>
            </a:r>
          </a:p>
          <a:p>
            <a:pPr eaLnBrk="1" fontAlgn="auto" hangingPunct="1">
              <a:lnSpc>
                <a:spcPct val="90000"/>
              </a:lnSpc>
              <a:spcBef>
                <a:spcPct val="15000"/>
              </a:spcBef>
              <a:spcAft>
                <a:spcPct val="5000"/>
              </a:spcAft>
              <a:buFont typeface="Arial" panose="020B0604020202020204" pitchFamily="34" charset="0"/>
              <a:buChar char="•"/>
              <a:defRPr/>
            </a:pPr>
            <a:r>
              <a:rPr lang="en-US" sz="2800" dirty="0"/>
              <a:t>Compliance does not equal change </a:t>
            </a:r>
          </a:p>
          <a:p>
            <a:pPr marL="869950" lvl="1" indent="-469900" eaLnBrk="1" fontAlgn="auto" hangingPunct="1">
              <a:lnSpc>
                <a:spcPct val="90000"/>
              </a:lnSpc>
              <a:spcBef>
                <a:spcPct val="15000"/>
              </a:spcBef>
              <a:spcAft>
                <a:spcPct val="50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Change that occurs because of external pressure tends to be short lived</a:t>
            </a:r>
          </a:p>
          <a:p>
            <a:pPr marL="869950" lvl="1" indent="-469900" eaLnBrk="1" fontAlgn="auto" hangingPunct="1">
              <a:lnSpc>
                <a:spcPct val="90000"/>
              </a:lnSpc>
              <a:spcBef>
                <a:spcPct val="15000"/>
              </a:spcBef>
              <a:spcAft>
                <a:spcPct val="50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More that someone “owns” (internalizes) the reasons for change, the more likely change will endure</a:t>
            </a:r>
          </a:p>
          <a:p>
            <a:pPr marL="869950" lvl="1" indent="-469900" eaLnBrk="1" fontAlgn="auto" hangingPunct="1">
              <a:lnSpc>
                <a:spcPct val="90000"/>
              </a:lnSpc>
              <a:spcBef>
                <a:spcPct val="15000"/>
              </a:spcBef>
              <a:spcAft>
                <a:spcPct val="5000"/>
              </a:spcAft>
              <a:buFont typeface="Arial" panose="020B0604020202020204" pitchFamily="34" charset="0"/>
              <a:buChar char="•"/>
              <a:defRPr/>
            </a:pPr>
            <a:r>
              <a:rPr lang="en-US" sz="2400" dirty="0"/>
              <a:t>Change is always hard and motivation gets you through it</a:t>
            </a:r>
          </a:p>
          <a:p>
            <a:pPr eaLnBrk="1" fontAlgn="auto" hangingPunct="1">
              <a:lnSpc>
                <a:spcPct val="90000"/>
              </a:lnSpc>
              <a:spcBef>
                <a:spcPct val="15000"/>
              </a:spcBef>
              <a:spcAft>
                <a:spcPct val="5000"/>
              </a:spcAft>
              <a:buFont typeface="Arial" panose="020B0604020202020204" pitchFamily="34" charset="0"/>
              <a:buChar char="•"/>
              <a:defRPr/>
            </a:pPr>
            <a:endParaRPr lang="en-US" sz="1000" dirty="0"/>
          </a:p>
          <a:p>
            <a:pPr eaLnBrk="1" fontAlgn="auto" hangingPunct="1">
              <a:lnSpc>
                <a:spcPct val="90000"/>
              </a:lnSpc>
              <a:spcBef>
                <a:spcPct val="15000"/>
              </a:spcBef>
              <a:spcAft>
                <a:spcPct val="5000"/>
              </a:spcAft>
              <a:buFont typeface="Arial" panose="020B0604020202020204" pitchFamily="34" charset="0"/>
              <a:buChar char="•"/>
              <a:defRPr/>
            </a:pPr>
            <a:r>
              <a:rPr lang="en-US" sz="2800" dirty="0"/>
              <a:t>Motivation fluctuates from one time and situation to another; not a fixed trait</a:t>
            </a:r>
          </a:p>
          <a:p>
            <a:pPr eaLnBrk="1" fontAlgn="auto" hangingPunct="1">
              <a:lnSpc>
                <a:spcPct val="90000"/>
              </a:lnSpc>
              <a:spcBef>
                <a:spcPct val="15000"/>
              </a:spcBef>
              <a:spcAft>
                <a:spcPct val="5000"/>
              </a:spcAft>
              <a:buFont typeface="Arial" panose="020B0604020202020204" pitchFamily="34" charset="0"/>
              <a:buChar char="•"/>
              <a:defRPr/>
            </a:pPr>
            <a:r>
              <a:rPr lang="en-US" sz="2800" dirty="0"/>
              <a:t>Motivation can be influenced by outside influence; it  does not reside solely in the person</a:t>
            </a:r>
          </a:p>
          <a:p>
            <a:pPr eaLnBrk="1" fontAlgn="auto" hangingPunct="1">
              <a:lnSpc>
                <a:spcPct val="90000"/>
              </a:lnSpc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1900" dirty="0"/>
          </a:p>
        </p:txBody>
      </p:sp>
    </p:spTree>
    <p:extLst>
      <p:ext uri="{BB962C8B-B14F-4D97-AF65-F5344CB8AC3E}">
        <p14:creationId xmlns:p14="http://schemas.microsoft.com/office/powerpoint/2010/main" val="11650222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4128" y="132259"/>
            <a:ext cx="9720072" cy="1499616"/>
          </a:xfrm>
        </p:spPr>
        <p:txBody>
          <a:bodyPr>
            <a:noAutofit/>
          </a:bodyPr>
          <a:lstStyle/>
          <a:p>
            <a:r>
              <a:rPr lang="en-US" sz="4400" dirty="0">
                <a:solidFill>
                  <a:schemeClr val="bg1"/>
                </a:solidFill>
              </a:rPr>
              <a:t>MI </a:t>
            </a:r>
            <a:r>
              <a:rPr lang="en-US" sz="4400" dirty="0" err="1">
                <a:solidFill>
                  <a:schemeClr val="bg1"/>
                </a:solidFill>
              </a:rPr>
              <a:t>and</a:t>
            </a:r>
            <a:r>
              <a:rPr lang="en-US" sz="4400" dirty="0" err="1">
                <a:solidFill>
                  <a:schemeClr val="tx1"/>
                </a:solidFill>
              </a:rPr>
              <a:t>Stages</a:t>
            </a:r>
            <a:r>
              <a:rPr lang="en-US" sz="4400" dirty="0">
                <a:solidFill>
                  <a:schemeClr val="tx1"/>
                </a:solidFill>
              </a:rPr>
              <a:t> of Change</a:t>
            </a:r>
            <a:endParaRPr lang="en-US" sz="9600" dirty="0">
              <a:solidFill>
                <a:schemeClr val="bg1"/>
              </a:solidFill>
            </a:endParaRP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98270077"/>
              </p:ext>
            </p:extLst>
          </p:nvPr>
        </p:nvGraphicFramePr>
        <p:xfrm>
          <a:off x="373625" y="1061884"/>
          <a:ext cx="11395587" cy="50931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54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318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24831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66860">
                <a:tc>
                  <a:txBody>
                    <a:bodyPr/>
                    <a:lstStyle/>
                    <a:p>
                      <a:r>
                        <a:rPr lang="en-US" sz="2400" dirty="0"/>
                        <a:t>Stage</a:t>
                      </a:r>
                    </a:p>
                  </a:txBody>
                  <a:tcPr marL="121920" marR="12192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Relationship to Problem Behavior</a:t>
                      </a:r>
                      <a:endParaRPr lang="en-US" sz="1400" dirty="0"/>
                    </a:p>
                  </a:txBody>
                  <a:tcPr marL="121920" marR="12192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Staff Tasks</a:t>
                      </a:r>
                    </a:p>
                  </a:txBody>
                  <a:tcPr marL="121920" marR="121920"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67273">
                <a:tc>
                  <a:txBody>
                    <a:bodyPr/>
                    <a:lstStyle/>
                    <a:p>
                      <a:r>
                        <a:rPr lang="en-US" sz="2000" dirty="0"/>
                        <a:t>Pre-Contemplation</a:t>
                      </a:r>
                    </a:p>
                  </a:txBody>
                  <a:tcPr marL="121920" marR="12192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No</a:t>
                      </a:r>
                      <a:r>
                        <a:rPr lang="en-US" sz="2000" baseline="0" dirty="0"/>
                        <a:t> awareness of problem</a:t>
                      </a:r>
                      <a:endParaRPr lang="en-US" sz="2000" dirty="0"/>
                    </a:p>
                  </a:txBody>
                  <a:tcPr marL="121920" marR="12192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Ask q’s/ raise awareness of obstacles</a:t>
                      </a:r>
                      <a:r>
                        <a:rPr lang="en-US" sz="1800" baseline="0" dirty="0"/>
                        <a:t> to goals</a:t>
                      </a:r>
                      <a:endParaRPr lang="en-US" sz="1800" dirty="0"/>
                    </a:p>
                  </a:txBody>
                  <a:tcPr marL="121920" marR="121920" marT="34290" marB="3429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66467">
                <a:tc>
                  <a:txBody>
                    <a:bodyPr/>
                    <a:lstStyle/>
                    <a:p>
                      <a:r>
                        <a:rPr lang="en-US" sz="2000" dirty="0"/>
                        <a:t>Contemplation</a:t>
                      </a:r>
                    </a:p>
                  </a:txBody>
                  <a:tcPr marL="121920" marR="12192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Aware of problem &amp; considering</a:t>
                      </a:r>
                      <a:r>
                        <a:rPr lang="en-US" sz="2000" baseline="0" dirty="0"/>
                        <a:t> change</a:t>
                      </a:r>
                      <a:endParaRPr lang="en-US" sz="2000" dirty="0"/>
                    </a:p>
                  </a:txBody>
                  <a:tcPr marL="121920" marR="12192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Pros &amp;</a:t>
                      </a:r>
                      <a:r>
                        <a:rPr lang="en-US" sz="1800" baseline="0" dirty="0"/>
                        <a:t> cons of changing/not</a:t>
                      </a:r>
                      <a:endParaRPr lang="en-US" sz="1800" dirty="0"/>
                    </a:p>
                  </a:txBody>
                  <a:tcPr marL="121920" marR="121920" marT="34290" marB="3429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35789">
                <a:tc>
                  <a:txBody>
                    <a:bodyPr/>
                    <a:lstStyle/>
                    <a:p>
                      <a:r>
                        <a:rPr lang="en-US" sz="2000" dirty="0"/>
                        <a:t>Preparation</a:t>
                      </a:r>
                    </a:p>
                  </a:txBody>
                  <a:tcPr marL="121920" marR="12192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Making plans</a:t>
                      </a:r>
                      <a:r>
                        <a:rPr lang="en-US" sz="2000" baseline="0" dirty="0"/>
                        <a:t> for how/when to change</a:t>
                      </a:r>
                      <a:endParaRPr lang="en-US" sz="2000" dirty="0"/>
                    </a:p>
                  </a:txBody>
                  <a:tcPr marL="121920" marR="12192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Options:</a:t>
                      </a:r>
                      <a:r>
                        <a:rPr lang="en-US" sz="1800" baseline="0" dirty="0"/>
                        <a:t> strategies, </a:t>
                      </a:r>
                      <a:r>
                        <a:rPr lang="en-US" sz="1800" dirty="0"/>
                        <a:t>supports &amp; services</a:t>
                      </a:r>
                    </a:p>
                  </a:txBody>
                  <a:tcPr marL="121920" marR="121920" marT="34290" marB="3429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66467">
                <a:tc>
                  <a:txBody>
                    <a:bodyPr/>
                    <a:lstStyle/>
                    <a:p>
                      <a:r>
                        <a:rPr lang="en-US" sz="2000" dirty="0"/>
                        <a:t>Action</a:t>
                      </a:r>
                    </a:p>
                  </a:txBody>
                  <a:tcPr marL="121920" marR="12192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Changing behavior</a:t>
                      </a:r>
                    </a:p>
                  </a:txBody>
                  <a:tcPr marL="121920" marR="12192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Support/relapse prevention</a:t>
                      </a:r>
                    </a:p>
                  </a:txBody>
                  <a:tcPr marL="121920" marR="121920" marT="34290" marB="3429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4736">
                <a:tc>
                  <a:txBody>
                    <a:bodyPr/>
                    <a:lstStyle/>
                    <a:p>
                      <a:r>
                        <a:rPr lang="en-US" sz="2000" dirty="0"/>
                        <a:t>Maintenance</a:t>
                      </a:r>
                    </a:p>
                  </a:txBody>
                  <a:tcPr marL="121920" marR="12192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Change sustained for 3-6 months </a:t>
                      </a:r>
                    </a:p>
                  </a:txBody>
                  <a:tcPr marL="121920" marR="12192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New goals</a:t>
                      </a:r>
                    </a:p>
                  </a:txBody>
                  <a:tcPr marL="121920" marR="121920" marT="34290" marB="3429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75519">
                <a:tc>
                  <a:txBody>
                    <a:bodyPr/>
                    <a:lstStyle/>
                    <a:p>
                      <a:r>
                        <a:rPr lang="en-US" sz="2000" dirty="0"/>
                        <a:t>Relapse</a:t>
                      </a:r>
                    </a:p>
                  </a:txBody>
                  <a:tcPr marL="121920" marR="12192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2000" dirty="0"/>
                        <a:t>Return to problem behavior</a:t>
                      </a:r>
                    </a:p>
                  </a:txBody>
                  <a:tcPr marL="121920" marR="12192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Assess</a:t>
                      </a:r>
                      <a:r>
                        <a:rPr lang="en-US" sz="1800" baseline="0" dirty="0"/>
                        <a:t> stage and intervene accordingly</a:t>
                      </a:r>
                      <a:endParaRPr lang="en-US" sz="1800" dirty="0"/>
                    </a:p>
                  </a:txBody>
                  <a:tcPr marL="121920" marR="121920" marT="34290" marB="3429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900460" y="5702089"/>
            <a:ext cx="1312025" cy="273844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39985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 eaLnBrk="1" hangingPunct="1"/>
            <a:r>
              <a:rPr lang="en-US" sz="4400" dirty="0"/>
              <a:t>HARM REDUCTION: Negotiating Change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23613149"/>
              </p:ext>
            </p:extLst>
          </p:nvPr>
        </p:nvGraphicFramePr>
        <p:xfrm>
          <a:off x="720115" y="1750899"/>
          <a:ext cx="10447757" cy="47088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900460" y="6459787"/>
            <a:ext cx="1312025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CC1AD4A-C43C-4839-A480-9B95484FFEC6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87476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/>
          <p:cNvSpPr>
            <a:spLocks noGrp="1"/>
          </p:cNvSpPr>
          <p:nvPr>
            <p:ph type="title"/>
          </p:nvPr>
        </p:nvSpPr>
        <p:spPr>
          <a:xfrm>
            <a:off x="754707" y="-103331"/>
            <a:ext cx="9720072" cy="1499616"/>
          </a:xfrm>
        </p:spPr>
        <p:txBody>
          <a:bodyPr>
            <a:noAutofit/>
          </a:bodyPr>
          <a:lstStyle/>
          <a:p>
            <a:pPr eaLnBrk="1" hangingPunct="1"/>
            <a:r>
              <a:rPr lang="en-US" sz="4400" dirty="0"/>
              <a:t>HARM REDUCTION</a:t>
            </a:r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13939349"/>
              </p:ext>
            </p:extLst>
          </p:nvPr>
        </p:nvGraphicFramePr>
        <p:xfrm>
          <a:off x="589935" y="1032387"/>
          <a:ext cx="11172723" cy="504149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900460" y="6459787"/>
            <a:ext cx="1312025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CC1AD4A-C43C-4839-A480-9B95484FFEC6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9007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967" y="164593"/>
            <a:ext cx="11641393" cy="668785"/>
          </a:xfrm>
        </p:spPr>
        <p:txBody>
          <a:bodyPr>
            <a:noAutofit/>
          </a:bodyPr>
          <a:lstStyle/>
          <a:p>
            <a:r>
              <a:rPr lang="en-US" sz="4400" dirty="0"/>
              <a:t>Harm Reduction based on open communication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74167972"/>
              </p:ext>
            </p:extLst>
          </p:nvPr>
        </p:nvGraphicFramePr>
        <p:xfrm>
          <a:off x="619432" y="1238865"/>
          <a:ext cx="10536248" cy="46302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900460" y="6459787"/>
            <a:ext cx="1312025" cy="365125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10827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400" dirty="0"/>
              <a:t>Housing Perspective</a:t>
            </a:r>
          </a:p>
        </p:txBody>
      </p:sp>
      <p:graphicFrame>
        <p:nvGraphicFramePr>
          <p:cNvPr id="2" name="Content Placeholder 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4850172"/>
              </p:ext>
            </p:extLst>
          </p:nvPr>
        </p:nvGraphicFramePr>
        <p:xfrm>
          <a:off x="501445" y="1081548"/>
          <a:ext cx="11120284" cy="51172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900460" y="6459787"/>
            <a:ext cx="1312025" cy="365125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69637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50650" y="136524"/>
            <a:ext cx="9720072" cy="1499616"/>
          </a:xfrm>
        </p:spPr>
        <p:txBody>
          <a:bodyPr>
            <a:noAutofit/>
          </a:bodyPr>
          <a:lstStyle/>
          <a:p>
            <a:r>
              <a:rPr lang="en-US" sz="4400" dirty="0"/>
              <a:t>Using the Lease to Structure the Work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19200"/>
            <a:ext cx="11031793" cy="4649894"/>
          </a:xfrm>
        </p:spPr>
        <p:txBody>
          <a:bodyPr>
            <a:normAutofit/>
          </a:bodyPr>
          <a:lstStyle/>
          <a:p>
            <a:pPr marL="457200" lvl="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600" dirty="0"/>
              <a:t>One of the goals is for each person to be stably housed and to do so, they need to learn how to manage tenancy obligations. </a:t>
            </a:r>
          </a:p>
          <a:p>
            <a:pPr marL="45720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600" dirty="0"/>
              <a:t>Key to achieving this goal is the active coordination between landlords/property management and support services staff, while maintaining the functional separation of these two staffs.</a:t>
            </a:r>
          </a:p>
          <a:p>
            <a:pPr marL="457200" lvl="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600" dirty="0"/>
              <a:t>Having separation of functions helps tenants learn by being treated no differently from any other tenant. (Don’t want to create alternate reality)</a:t>
            </a:r>
          </a:p>
          <a:p>
            <a:pPr marL="457200" lvl="0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600" dirty="0"/>
              <a:t>Problems that threaten tenancy may motivate tenants to use services in order to keep their housing.</a:t>
            </a:r>
          </a:p>
          <a:p>
            <a:pPr lvl="0">
              <a:spcBef>
                <a:spcPts val="1200"/>
              </a:spcBef>
            </a:pPr>
            <a:endParaRPr lang="en-US" sz="2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51D66749-D81F-4F41-877C-4676687DD871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3015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5F1AB0-04F9-44B2-98ED-3CE2F3C4B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400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DEDE7C-EDB1-4C02-ADC2-3408114DB7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en-US" sz="2800" dirty="0">
                <a:solidFill>
                  <a:schemeClr val="tx1"/>
                </a:solidFill>
              </a:rPr>
              <a:t>Housing First Defined</a:t>
            </a:r>
          </a:p>
          <a:p>
            <a:pPr lvl="1"/>
            <a:r>
              <a:rPr lang="en-US" sz="2800" dirty="0">
                <a:solidFill>
                  <a:schemeClr val="tx1"/>
                </a:solidFill>
              </a:rPr>
              <a:t>Implementation of the Practice</a:t>
            </a:r>
          </a:p>
          <a:p>
            <a:pPr lvl="1"/>
            <a:r>
              <a:rPr lang="en-US" sz="2800" dirty="0">
                <a:solidFill>
                  <a:schemeClr val="tx1"/>
                </a:solidFill>
              </a:rPr>
              <a:t>Motivation for Change</a:t>
            </a:r>
          </a:p>
          <a:p>
            <a:pPr lvl="1"/>
            <a:r>
              <a:rPr lang="en-US" sz="2800" dirty="0">
                <a:solidFill>
                  <a:schemeClr val="tx1"/>
                </a:solidFill>
              </a:rPr>
              <a:t>Using the Structure of the Lease</a:t>
            </a:r>
          </a:p>
          <a:p>
            <a:pPr lvl="1"/>
            <a:r>
              <a:rPr lang="en-US" sz="2800" dirty="0">
                <a:solidFill>
                  <a:schemeClr val="tx1"/>
                </a:solidFill>
              </a:rPr>
              <a:t>Discussion and Wrap up</a:t>
            </a:r>
          </a:p>
          <a:p>
            <a:pPr marL="201168" lvl="1" indent="0">
              <a:buNone/>
            </a:pPr>
            <a:endParaRPr lang="en-US" sz="2800" dirty="0">
              <a:solidFill>
                <a:schemeClr val="tx1"/>
              </a:solidFill>
            </a:endParaRPr>
          </a:p>
          <a:p>
            <a:pPr marL="201168" lvl="1" indent="0">
              <a:buNone/>
            </a:pPr>
            <a:endParaRPr lang="en-US" sz="2800" dirty="0">
              <a:solidFill>
                <a:schemeClr val="tx1"/>
              </a:solidFill>
            </a:endParaRPr>
          </a:p>
          <a:p>
            <a:pPr lvl="1"/>
            <a:endParaRPr lang="en-US" sz="2200" dirty="0">
              <a:solidFill>
                <a:schemeClr val="tx1"/>
              </a:solidFill>
            </a:endParaRPr>
          </a:p>
          <a:p>
            <a:pPr lvl="1"/>
            <a:endParaRPr lang="en-US" sz="22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A1051C-BBAD-4F82-B24A-77FCD3E4E4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4465" y="1999636"/>
            <a:ext cx="3041240" cy="2110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31808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2292" y="130178"/>
            <a:ext cx="9720072" cy="1499616"/>
          </a:xfrm>
        </p:spPr>
        <p:txBody>
          <a:bodyPr>
            <a:noAutofit/>
          </a:bodyPr>
          <a:lstStyle/>
          <a:p>
            <a:r>
              <a:rPr lang="en-US" sz="4400" dirty="0"/>
              <a:t>Tenant Right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78107637"/>
              </p:ext>
            </p:extLst>
          </p:nvPr>
        </p:nvGraphicFramePr>
        <p:xfrm>
          <a:off x="521110" y="1127375"/>
          <a:ext cx="11176000" cy="48669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217748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286605"/>
            <a:ext cx="10058400" cy="627796"/>
          </a:xfrm>
        </p:spPr>
        <p:txBody>
          <a:bodyPr>
            <a:noAutofit/>
          </a:bodyPr>
          <a:lstStyle/>
          <a:p>
            <a:pPr algn="ctr"/>
            <a:r>
              <a:rPr lang="en-US" sz="4400" dirty="0"/>
              <a:t>Obligations of Tenancy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26941009"/>
              </p:ext>
            </p:extLst>
          </p:nvPr>
        </p:nvGraphicFramePr>
        <p:xfrm>
          <a:off x="1097280" y="990600"/>
          <a:ext cx="10688320" cy="48784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57890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286605"/>
            <a:ext cx="10058400" cy="598298"/>
          </a:xfrm>
        </p:spPr>
        <p:txBody>
          <a:bodyPr>
            <a:noAutofit/>
          </a:bodyPr>
          <a:lstStyle/>
          <a:p>
            <a:pPr algn="ctr"/>
            <a:r>
              <a:rPr lang="en-US" sz="4400" dirty="0"/>
              <a:t>Obligations of Tenancy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59834062"/>
              </p:ext>
            </p:extLst>
          </p:nvPr>
        </p:nvGraphicFramePr>
        <p:xfrm>
          <a:off x="101600" y="1143000"/>
          <a:ext cx="11887200" cy="50292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23682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400" dirty="0"/>
              <a:t>Closing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17968"/>
            <a:ext cx="11021962" cy="4738383"/>
          </a:xfrm>
        </p:spPr>
        <p:txBody>
          <a:bodyPr>
            <a:normAutofit/>
          </a:bodyPr>
          <a:lstStyle/>
          <a:p>
            <a:pPr>
              <a:spcBef>
                <a:spcPts val="1200"/>
              </a:spcBef>
            </a:pPr>
            <a:r>
              <a:rPr lang="en-US" sz="2800" dirty="0"/>
              <a:t>Housing first makes it possible for every family to stabilize in their community by eliminating the barriers to housing access and providing the support needed to maintain housing</a:t>
            </a:r>
          </a:p>
          <a:p>
            <a:pPr>
              <a:spcBef>
                <a:spcPts val="1200"/>
              </a:spcBef>
            </a:pPr>
            <a:r>
              <a:rPr lang="en-US" sz="2800" dirty="0"/>
              <a:t>Housing First is goal oriented and client driven</a:t>
            </a:r>
          </a:p>
          <a:p>
            <a:pPr>
              <a:spcBef>
                <a:spcPts val="1200"/>
              </a:spcBef>
            </a:pPr>
            <a:r>
              <a:rPr lang="en-US" sz="2800" dirty="0"/>
              <a:t>Housing First has the same rules as all other rental housing and uses case management to assist each tenant to meet these expectations</a:t>
            </a:r>
          </a:p>
          <a:p>
            <a:pPr>
              <a:spcBef>
                <a:spcPts val="1200"/>
              </a:spcBef>
            </a:pPr>
            <a:r>
              <a:rPr lang="en-US" sz="2800" dirty="0"/>
              <a:t>It takes a village and depends on quality supports and assertive landlords</a:t>
            </a:r>
          </a:p>
          <a:p>
            <a:pPr>
              <a:spcBef>
                <a:spcPts val="1200"/>
              </a:spcBef>
            </a:pPr>
            <a:endParaRPr lang="en-US" sz="2800" dirty="0"/>
          </a:p>
          <a:p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331853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400" dirty="0"/>
              <a:t>Additional Reading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24280" y="1755229"/>
            <a:ext cx="10058400" cy="4299583"/>
          </a:xfrm>
        </p:spPr>
        <p:txBody>
          <a:bodyPr>
            <a:normAutofit fontScale="92500" lnSpcReduction="10000"/>
          </a:bodyPr>
          <a:lstStyle/>
          <a:p>
            <a:r>
              <a:rPr lang="en-US" sz="2800" dirty="0"/>
              <a:t>Housing First Manual:</a:t>
            </a:r>
          </a:p>
          <a:p>
            <a:r>
              <a:rPr lang="en-US" sz="2800" dirty="0" err="1"/>
              <a:t>Tsemberis</a:t>
            </a:r>
            <a:r>
              <a:rPr lang="en-US" sz="2800" dirty="0"/>
              <a:t>, Sam J. Housing First: The Pathways Model to End Homelessness for People with Mental Illness and Addiction. Dartmouth PRC-</a:t>
            </a:r>
            <a:r>
              <a:rPr lang="en-US" sz="2800" dirty="0" err="1"/>
              <a:t>Hazelden</a:t>
            </a:r>
            <a:r>
              <a:rPr lang="en-US" sz="2800" dirty="0"/>
              <a:t>. 2010</a:t>
            </a:r>
          </a:p>
          <a:p>
            <a:r>
              <a:rPr lang="en-US" sz="2800" dirty="0"/>
              <a:t>Permanent Supportive Housing Toolkit:</a:t>
            </a:r>
            <a:endParaRPr lang="en-US" sz="2800" dirty="0">
              <a:solidFill>
                <a:schemeClr val="tx1"/>
              </a:solidFill>
              <a:hlinkClick r:id="rId3"/>
            </a:endParaRPr>
          </a:p>
          <a:p>
            <a:r>
              <a:rPr lang="en-US" sz="2800" dirty="0">
                <a:hlinkClick r:id="rId3"/>
              </a:rPr>
              <a:t>http://store.samhsa.gov/product/Permanent-Supportive-Housing-Evidence-Based-Practices-EBP-KIT/SMA10-4510</a:t>
            </a:r>
            <a:endParaRPr lang="en-US" sz="2800" dirty="0"/>
          </a:p>
          <a:p>
            <a:pPr marL="0" indent="0">
              <a:buNone/>
            </a:pPr>
            <a:r>
              <a:rPr lang="en-US" sz="2800" dirty="0"/>
              <a:t>Developing the Support in Supportive Housing:</a:t>
            </a:r>
          </a:p>
          <a:p>
            <a:r>
              <a:rPr lang="en-US" sz="2800" dirty="0">
                <a:hlinkClick r:id="rId4"/>
              </a:rPr>
              <a:t>Http://www.csh.org/wp-content/uploads/2011/12/Tool_DevelopingSupport_Guide.pdf</a:t>
            </a:r>
            <a:endParaRPr lang="en-US" sz="2800" dirty="0"/>
          </a:p>
          <a:p>
            <a:endParaRPr lang="en-US" dirty="0"/>
          </a:p>
          <a:p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900460" y="6459787"/>
            <a:ext cx="1312025" cy="365125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47314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400" dirty="0"/>
              <a:t>Additional Reading – cont.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2800" dirty="0"/>
              <a:t>Housing First Checklist Interagency Council on Homelessness: </a:t>
            </a:r>
          </a:p>
          <a:p>
            <a:r>
              <a:rPr lang="en-US" sz="2800" dirty="0">
                <a:hlinkClick r:id="rId2"/>
              </a:rPr>
              <a:t>http://usich.gov/resources/uploads/asset_library/Housing_First_Checklist_FINAL.pdf</a:t>
            </a:r>
            <a:r>
              <a:rPr lang="en-US" sz="2800" dirty="0"/>
              <a:t> </a:t>
            </a:r>
          </a:p>
          <a:p>
            <a:r>
              <a:rPr lang="en-US" sz="2800" dirty="0"/>
              <a:t>Harm Reduction Coalition.  Principles of Harm Reduction:  </a:t>
            </a:r>
          </a:p>
          <a:p>
            <a:r>
              <a:rPr lang="en-US" sz="2800" dirty="0"/>
              <a:t>http://</a:t>
            </a:r>
            <a:r>
              <a:rPr lang="en-US" sz="2800" u="sng" dirty="0">
                <a:hlinkClick r:id="rId3"/>
              </a:rPr>
              <a:t>www.harmreduction.org/about-us/principles-of-harm-reduction/</a:t>
            </a:r>
            <a:endParaRPr lang="en-US" sz="2800" dirty="0"/>
          </a:p>
          <a:p>
            <a:r>
              <a:rPr lang="en-US" sz="2800" dirty="0" err="1"/>
              <a:t>Pauly</a:t>
            </a:r>
            <a:r>
              <a:rPr lang="en-US" sz="2800" dirty="0"/>
              <a:t> B, </a:t>
            </a:r>
            <a:r>
              <a:rPr lang="en-US" sz="2800" dirty="0" err="1"/>
              <a:t>Reist</a:t>
            </a:r>
            <a:r>
              <a:rPr lang="en-US" sz="2800" dirty="0"/>
              <a:t> D, Belle-Isle L, </a:t>
            </a:r>
            <a:r>
              <a:rPr lang="en-US" sz="2800" dirty="0" err="1"/>
              <a:t>Schactman</a:t>
            </a:r>
            <a:r>
              <a:rPr lang="en-US" sz="2800" dirty="0"/>
              <a:t> C (2012).  Housing and harm reduction:  What is the role of harm reduction in addressing homelessness?  International Journal of Drug Policy. Volume 4, Issue 4, Pages 284-290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900460" y="6459787"/>
            <a:ext cx="1312025" cy="365125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237884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itional Reading - MI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Miller, W.R. and </a:t>
            </a:r>
            <a:r>
              <a:rPr lang="en-US" sz="2800" dirty="0" err="1"/>
              <a:t>Rollnick</a:t>
            </a:r>
            <a:r>
              <a:rPr lang="en-US" sz="2800" dirty="0"/>
              <a:t> S. (2012). Motivational Interviewing: Helping People Change. 3</a:t>
            </a:r>
            <a:r>
              <a:rPr lang="en-US" sz="2800" baseline="30000" dirty="0"/>
              <a:t>rd</a:t>
            </a:r>
            <a:r>
              <a:rPr lang="en-US" sz="2800" dirty="0"/>
              <a:t> Edition. New York: Guilford Press.</a:t>
            </a:r>
          </a:p>
          <a:p>
            <a:r>
              <a:rPr lang="en-US" sz="2800" dirty="0"/>
              <a:t>Motivational Interviewing Website:</a:t>
            </a:r>
          </a:p>
          <a:p>
            <a:pPr marL="400050" lvl="1" indent="0">
              <a:buNone/>
            </a:pPr>
            <a:r>
              <a:rPr lang="en-US" sz="2800" dirty="0">
                <a:hlinkClick r:id="rId2"/>
              </a:rPr>
              <a:t>http://www.motivationalinterviewing.org/</a:t>
            </a:r>
            <a:r>
              <a:rPr lang="en-US" sz="2800" dirty="0"/>
              <a:t> </a:t>
            </a:r>
          </a:p>
          <a:p>
            <a:pPr marL="400050" lvl="1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A90EC89-DEE9-4D30-8BD5-74B5A77038F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6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5322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79969" y="163512"/>
            <a:ext cx="11032067" cy="2071687"/>
          </a:xfrm>
        </p:spPr>
        <p:txBody>
          <a:bodyPr>
            <a:noAutofit/>
          </a:bodyPr>
          <a:lstStyle/>
          <a:p>
            <a:pPr lvl="1" algn="l" defTabSz="457200" rtl="0">
              <a:spcBef>
                <a:spcPct val="0"/>
              </a:spcBef>
            </a:pPr>
            <a:r>
              <a:rPr lang="en-US" sz="4000" b="1" dirty="0">
                <a:latin typeface="+mj-lt"/>
              </a:rPr>
              <a:t>Housing First Crisis Response System that </a:t>
            </a:r>
            <a:r>
              <a:rPr lang="en-US" sz="4000" b="1" i="1" dirty="0">
                <a:solidFill>
                  <a:schemeClr val="accent3"/>
                </a:solidFill>
                <a:latin typeface="+mj-lt"/>
              </a:rPr>
              <a:t>Ends Homelessness</a:t>
            </a:r>
            <a:endParaRPr lang="en-US" sz="4000" dirty="0"/>
          </a:p>
        </p:txBody>
      </p:sp>
      <p:sp>
        <p:nvSpPr>
          <p:cNvPr id="7" name="Content Placeholder 6"/>
          <p:cNvSpPr>
            <a:spLocks noGrp="1"/>
          </p:cNvSpPr>
          <p:nvPr>
            <p:ph idx="4294967295"/>
          </p:nvPr>
        </p:nvSpPr>
        <p:spPr>
          <a:xfrm>
            <a:off x="4318000" y="2235200"/>
            <a:ext cx="7874000" cy="366395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600" dirty="0"/>
              <a:t>An effective Crisis Response System provides </a:t>
            </a:r>
            <a:r>
              <a:rPr lang="en-US" sz="3600" b="1" dirty="0"/>
              <a:t>immediate and easy access to safe and decent shelter</a:t>
            </a:r>
            <a:r>
              <a:rPr lang="en-US" sz="3600" dirty="0"/>
              <a:t> to anyone that needs it and aims to </a:t>
            </a:r>
            <a:r>
              <a:rPr lang="en-US" sz="3600" b="1" dirty="0"/>
              <a:t>re-house</a:t>
            </a:r>
            <a:r>
              <a:rPr lang="en-US" sz="3600" dirty="0"/>
              <a:t> people as </a:t>
            </a:r>
            <a:r>
              <a:rPr lang="en-US" sz="3600" b="1" dirty="0"/>
              <a:t>quickly</a:t>
            </a:r>
            <a:r>
              <a:rPr lang="en-US" sz="3600" dirty="0"/>
              <a:t> as possible.</a:t>
            </a:r>
          </a:p>
          <a:p>
            <a:pPr marL="0" indent="0" algn="ctr">
              <a:buNone/>
            </a:pPr>
            <a:r>
              <a:rPr lang="en-US" sz="3600" dirty="0"/>
              <a:t>“</a:t>
            </a:r>
            <a:r>
              <a:rPr lang="en-US" sz="3600" i="1" dirty="0"/>
              <a:t>Rare, brief and non-recurring”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267200" y="5770913"/>
            <a:ext cx="6172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</a:rPr>
              <a:t>National Alliance to End Homelessness</a:t>
            </a:r>
          </a:p>
        </p:txBody>
      </p:sp>
      <p:pic>
        <p:nvPicPr>
          <p:cNvPr id="5" name="Picture 1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9400" y="2235200"/>
            <a:ext cx="3657600" cy="2743200"/>
          </a:xfrm>
          <a:prstGeom prst="rect">
            <a:avLst/>
          </a:prstGeom>
          <a:noFill/>
          <a:ln w="50800">
            <a:solidFill>
              <a:schemeClr val="bg1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631573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400" dirty="0"/>
              <a:t>Housing First (HF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800" dirty="0"/>
              <a:t>HF is a paradigm shift from the traditional </a:t>
            </a:r>
            <a:r>
              <a:rPr lang="en-US" sz="2800" i="1" dirty="0"/>
              <a:t>housing ready </a:t>
            </a:r>
            <a:r>
              <a:rPr lang="en-US" sz="2800" dirty="0"/>
              <a:t>approach. It follows a basic principle—that </a:t>
            </a:r>
            <a:r>
              <a:rPr lang="en-US" sz="2800" i="1" dirty="0"/>
              <a:t>everyone </a:t>
            </a:r>
            <a:r>
              <a:rPr lang="en-US" sz="2800" dirty="0"/>
              <a:t>is ready for housing, regardless of the complexity or severity of their needs. It is a program model of Permanent Supportive Housing (PSH) AND a system-wide orientation and response.  All programs serving homeless people can implement HF practices. </a:t>
            </a:r>
          </a:p>
          <a:p>
            <a:r>
              <a:rPr lang="en-US" sz="2800" dirty="0"/>
              <a:t> </a:t>
            </a:r>
            <a:endParaRPr lang="en-US" sz="1800" dirty="0"/>
          </a:p>
          <a:p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6847" y="45121"/>
            <a:ext cx="4391025" cy="204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4771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9BE38F-E6D1-4DC7-B4C7-EA0ABF4679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low’s </a:t>
            </a:r>
            <a:r>
              <a:rPr lang="en-US" dirty="0"/>
              <a:t>Hierarchy of needs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8343B3DE-0702-404D-A023-B61B3BB41A4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182239" y="2286000"/>
            <a:ext cx="5403660" cy="4022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4294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170040" y="144928"/>
            <a:ext cx="5122606" cy="668785"/>
          </a:xfr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txBody>
          <a:bodyPr>
            <a:normAutofit/>
          </a:bodyPr>
          <a:lstStyle/>
          <a:p>
            <a:r>
              <a:rPr lang="en-US" sz="4400" dirty="0">
                <a:solidFill>
                  <a:schemeClr val="tx2"/>
                </a:solidFill>
              </a:rPr>
              <a:t>Housing First Practices</a:t>
            </a:r>
          </a:p>
        </p:txBody>
      </p:sp>
      <p:graphicFrame>
        <p:nvGraphicFramePr>
          <p:cNvPr id="3" name="Content Placehold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10895125"/>
              </p:ext>
            </p:extLst>
          </p:nvPr>
        </p:nvGraphicFramePr>
        <p:xfrm>
          <a:off x="1097280" y="1118147"/>
          <a:ext cx="10058400" cy="48008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949346" y="6459789"/>
            <a:ext cx="984019" cy="365125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40654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400" dirty="0"/>
              <a:t>Housing First is </a:t>
            </a:r>
            <a:r>
              <a:rPr lang="en-US" sz="4400" i="1" dirty="0"/>
              <a:t>no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1" y="1845734"/>
            <a:ext cx="3893820" cy="402336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endParaRPr lang="en-US" dirty="0"/>
          </a:p>
          <a:p>
            <a:pPr marL="0" indent="0">
              <a:buNone/>
            </a:pPr>
            <a:r>
              <a:rPr lang="en-US" sz="4000" dirty="0">
                <a:solidFill>
                  <a:schemeClr val="tx1"/>
                </a:solidFill>
              </a:rPr>
              <a:t>“</a:t>
            </a:r>
            <a:r>
              <a:rPr lang="en-US" sz="3200" dirty="0">
                <a:solidFill>
                  <a:schemeClr val="tx1"/>
                </a:solidFill>
              </a:rPr>
              <a:t>Housing only” </a:t>
            </a:r>
          </a:p>
          <a:p>
            <a:pPr algn="l"/>
            <a:endParaRPr lang="en-US" sz="3200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en-US" sz="3200" dirty="0">
                <a:solidFill>
                  <a:schemeClr val="tx1"/>
                </a:solidFill>
              </a:rPr>
              <a:t>	   OR</a:t>
            </a:r>
          </a:p>
          <a:p>
            <a:pPr algn="l"/>
            <a:endParaRPr lang="en-US" sz="3200" dirty="0">
              <a:solidFill>
                <a:schemeClr val="tx1"/>
              </a:solidFill>
            </a:endParaRPr>
          </a:p>
          <a:p>
            <a:r>
              <a:rPr lang="en-US" sz="3200" dirty="0">
                <a:solidFill>
                  <a:schemeClr val="tx1"/>
                </a:solidFill>
              </a:rPr>
              <a:t>“Anything goes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914400">
              <a:defRPr/>
            </a:pPr>
            <a:fld id="{8A90EC89-DEE9-4D30-8BD5-74B5A77038F9}" type="slidenum">
              <a:rPr lang="en-US" sz="1800" kern="0">
                <a:solidFill>
                  <a:sysClr val="windowText" lastClr="000000"/>
                </a:solidFill>
              </a:rPr>
              <a:pPr defTabSz="914400">
                <a:defRPr/>
              </a:pPr>
              <a:t>7</a:t>
            </a:fld>
            <a:endParaRPr lang="en-US" sz="1800" kern="0" dirty="0">
              <a:solidFill>
                <a:sysClr val="windowText" lastClr="000000"/>
              </a:solidFill>
            </a:endParaRPr>
          </a:p>
        </p:txBody>
      </p:sp>
      <p:pic>
        <p:nvPicPr>
          <p:cNvPr id="3074" name="Picture 2" descr="Showing part of a filthy couch (stains, burn mark) next to an end table covered with drinking cups and dozens of what appear to be cigarette buts. Trash in foreground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9581" y="1295129"/>
            <a:ext cx="5381626" cy="4421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98137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4400" dirty="0"/>
              <a:t>HF Best Practices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3214993"/>
              </p:ext>
            </p:extLst>
          </p:nvPr>
        </p:nvGraphicFramePr>
        <p:xfrm>
          <a:off x="1276350" y="1845734"/>
          <a:ext cx="8614410" cy="44438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949345" y="6459787"/>
            <a:ext cx="984019" cy="365125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6" name="Picture 2" descr="https://tribktla.files.wordpress.com/2015/05/eagle-rock.jpg?w=370&amp;h=204&amp;crop=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7073" y="140155"/>
            <a:ext cx="3524250" cy="1737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23321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AutoShape 2"/>
          <p:cNvSpPr>
            <a:spLocks/>
          </p:cNvSpPr>
          <p:nvPr/>
        </p:nvSpPr>
        <p:spPr bwMode="auto">
          <a:xfrm>
            <a:off x="2015613" y="128632"/>
            <a:ext cx="8062452" cy="1400845"/>
          </a:xfrm>
          <a:custGeom>
            <a:avLst/>
            <a:gdLst>
              <a:gd name="T0" fmla="*/ 2147483647 w 21600"/>
              <a:gd name="T1" fmla="*/ 2147483647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60000 65536"/>
              <a:gd name="T9" fmla="*/ 0 60000 65536"/>
              <a:gd name="T10" fmla="*/ 0 60000 65536"/>
              <a:gd name="T11" fmla="*/ 0 60000 65536"/>
              <a:gd name="T12" fmla="*/ 0 w 21600"/>
              <a:gd name="T13" fmla="*/ 0 h 21600"/>
              <a:gd name="T14" fmla="*/ 21600 w 21600"/>
              <a:gd name="T15" fmla="*/ 216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  <a:effectLst/>
          <a:extLst/>
        </p:spPr>
        <p:txBody>
          <a:bodyPr lIns="0" tIns="0" rIns="0" bIns="0" anchor="ctr"/>
          <a:lstStyle>
            <a:lvl1pPr algn="l" eaLnBrk="0">
              <a:spcBef>
                <a:spcPts val="4200"/>
              </a:spcBef>
              <a:defRPr sz="38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1pPr>
            <a:lvl2pPr marL="742950" indent="-285750" algn="l" eaLnBrk="0">
              <a:spcBef>
                <a:spcPts val="4200"/>
              </a:spcBef>
              <a:defRPr sz="38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2pPr>
            <a:lvl3pPr marL="1143000" indent="-228600" algn="l" eaLnBrk="0">
              <a:spcBef>
                <a:spcPts val="4200"/>
              </a:spcBef>
              <a:defRPr sz="38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3pPr>
            <a:lvl4pPr marL="1600200" indent="-228600" algn="l" eaLnBrk="0">
              <a:spcBef>
                <a:spcPts val="4200"/>
              </a:spcBef>
              <a:defRPr sz="38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4pPr>
            <a:lvl5pPr marL="2057400" indent="-228600" algn="l" eaLnBrk="0">
              <a:spcBef>
                <a:spcPts val="4200"/>
              </a:spcBef>
              <a:defRPr sz="38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5pPr>
            <a:lvl6pPr marL="2514600" indent="-228600" defTabSz="584200" eaLnBrk="0" fontAlgn="base" hangingPunct="0">
              <a:spcBef>
                <a:spcPts val="4200"/>
              </a:spcBef>
              <a:spcAft>
                <a:spcPct val="0"/>
              </a:spcAft>
              <a:defRPr sz="38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6pPr>
            <a:lvl7pPr marL="2971800" indent="-228600" defTabSz="584200" eaLnBrk="0" fontAlgn="base" hangingPunct="0">
              <a:spcBef>
                <a:spcPts val="4200"/>
              </a:spcBef>
              <a:spcAft>
                <a:spcPct val="0"/>
              </a:spcAft>
              <a:defRPr sz="38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7pPr>
            <a:lvl8pPr marL="3429000" indent="-228600" defTabSz="584200" eaLnBrk="0" fontAlgn="base" hangingPunct="0">
              <a:spcBef>
                <a:spcPts val="4200"/>
              </a:spcBef>
              <a:spcAft>
                <a:spcPct val="0"/>
              </a:spcAft>
              <a:defRPr sz="38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8pPr>
            <a:lvl9pPr marL="3886200" indent="-228600" defTabSz="584200" eaLnBrk="0" fontAlgn="base" hangingPunct="0">
              <a:spcBef>
                <a:spcPts val="4200"/>
              </a:spcBef>
              <a:spcAft>
                <a:spcPct val="0"/>
              </a:spcAft>
              <a:defRPr sz="3800">
                <a:solidFill>
                  <a:srgbClr val="000000"/>
                </a:solidFill>
                <a:latin typeface="Helvetica Light" charset="0"/>
                <a:ea typeface="Helvetica Light" charset="0"/>
                <a:cs typeface="Helvetica Light" charset="0"/>
                <a:sym typeface="Helvetica Light" charset="0"/>
              </a:defRPr>
            </a:lvl9pPr>
          </a:lstStyle>
          <a:p>
            <a:pPr algn="ctr" defTabSz="906547" eaLnBrk="1">
              <a:spcBef>
                <a:spcPct val="0"/>
              </a:spcBef>
            </a:pPr>
            <a:r>
              <a:rPr lang="en-US" altLang="en-US" sz="4800" dirty="0">
                <a:solidFill>
                  <a:prstClr val="black"/>
                </a:solidFill>
                <a:latin typeface="Calibri Light"/>
                <a:ea typeface="Helvetica Neue Light" charset="0"/>
                <a:cs typeface="Helvetica Neue Light" charset="0"/>
                <a:sym typeface="Helvetica Neue Light" charset="0"/>
              </a:rPr>
              <a:t>Housing First in shelter and other crisis housing</a:t>
            </a:r>
            <a:endParaRPr lang="en-US" altLang="en-US" sz="4800" dirty="0">
              <a:solidFill>
                <a:prstClr val="black"/>
              </a:solidFill>
              <a:latin typeface="Calibri Ligh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17458" y="1907457"/>
            <a:ext cx="5473631" cy="4542805"/>
          </a:xfrm>
          <a:prstGeom prst="rect">
            <a:avLst/>
          </a:prstGeom>
        </p:spPr>
      </p:pic>
      <p:sp>
        <p:nvSpPr>
          <p:cNvPr id="6" name="Left Arrow 5"/>
          <p:cNvSpPr/>
          <p:nvPr/>
        </p:nvSpPr>
        <p:spPr>
          <a:xfrm rot="1618769">
            <a:off x="2838982" y="1713422"/>
            <a:ext cx="3588905" cy="1089852"/>
          </a:xfrm>
          <a:prstGeom prst="leftArrow">
            <a:avLst/>
          </a:prstGeom>
          <a:solidFill>
            <a:srgbClr val="C0504D"/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91051" tIns="45526" rIns="91051" bIns="45526" rtlCol="0" anchor="ctr"/>
          <a:lstStyle/>
          <a:p>
            <a:pPr algn="ctr" defTabSz="455266">
              <a:defRPr/>
            </a:pPr>
            <a:r>
              <a:rPr lang="en-US" kern="0" dirty="0">
                <a:solidFill>
                  <a:prstClr val="white"/>
                </a:solidFill>
              </a:rPr>
              <a:t>PATH TO PERM. HOUSING</a:t>
            </a:r>
          </a:p>
        </p:txBody>
      </p:sp>
      <p:sp>
        <p:nvSpPr>
          <p:cNvPr id="7" name="Left Arrow 6"/>
          <p:cNvSpPr/>
          <p:nvPr/>
        </p:nvSpPr>
        <p:spPr>
          <a:xfrm rot="1463927">
            <a:off x="2253361" y="2807642"/>
            <a:ext cx="3529354" cy="1161075"/>
          </a:xfrm>
          <a:prstGeom prst="leftArrow">
            <a:avLst/>
          </a:prstGeom>
          <a:solidFill>
            <a:srgbClr val="C0504D"/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91051" tIns="45526" rIns="91051" bIns="45526" rtlCol="0" anchor="ctr"/>
          <a:lstStyle/>
          <a:p>
            <a:pPr algn="ctr" defTabSz="455266">
              <a:defRPr/>
            </a:pPr>
            <a:r>
              <a:rPr lang="en-US" kern="0" dirty="0">
                <a:solidFill>
                  <a:prstClr val="white"/>
                </a:solidFill>
              </a:rPr>
              <a:t>LOW BARRIER AND HOUSING FIRST </a:t>
            </a:r>
          </a:p>
        </p:txBody>
      </p:sp>
      <p:sp>
        <p:nvSpPr>
          <p:cNvPr id="9" name="Left Arrow 8"/>
          <p:cNvSpPr/>
          <p:nvPr/>
        </p:nvSpPr>
        <p:spPr>
          <a:xfrm rot="20327706">
            <a:off x="2556913" y="4397685"/>
            <a:ext cx="3407352" cy="1284594"/>
          </a:xfrm>
          <a:prstGeom prst="leftArrow">
            <a:avLst/>
          </a:prstGeom>
          <a:solidFill>
            <a:srgbClr val="C0504D"/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91051" tIns="45526" rIns="91051" bIns="45526" rtlCol="0" anchor="ctr"/>
          <a:lstStyle/>
          <a:p>
            <a:pPr algn="ctr" defTabSz="455266">
              <a:defRPr/>
            </a:pPr>
            <a:r>
              <a:rPr lang="en-US" kern="0" dirty="0">
                <a:solidFill>
                  <a:prstClr val="white"/>
                </a:solidFill>
              </a:rPr>
              <a:t>LINKED TO COORD. ENTRY</a:t>
            </a:r>
          </a:p>
        </p:txBody>
      </p:sp>
      <p:sp>
        <p:nvSpPr>
          <p:cNvPr id="10" name="Left Arrow 9"/>
          <p:cNvSpPr/>
          <p:nvPr/>
        </p:nvSpPr>
        <p:spPr>
          <a:xfrm rot="19134063">
            <a:off x="8587412" y="1665619"/>
            <a:ext cx="3407352" cy="1185459"/>
          </a:xfrm>
          <a:prstGeom prst="leftArrow">
            <a:avLst>
              <a:gd name="adj1" fmla="val 50000"/>
              <a:gd name="adj2" fmla="val 54932"/>
            </a:avLst>
          </a:prstGeom>
          <a:solidFill>
            <a:srgbClr val="C0504D"/>
          </a:solidFill>
          <a:ln w="38100" cap="flat" cmpd="sng" algn="ctr">
            <a:solidFill>
              <a:sysClr val="window" lastClr="FFFFFF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91051" tIns="45526" rIns="91051" bIns="45526" rtlCol="0" anchor="ctr"/>
          <a:lstStyle/>
          <a:p>
            <a:pPr algn="ctr" defTabSz="455266">
              <a:defRPr/>
            </a:pPr>
            <a:r>
              <a:rPr lang="en-US" kern="0" dirty="0">
                <a:solidFill>
                  <a:prstClr val="white"/>
                </a:solidFill>
              </a:rPr>
              <a:t>STREET OUTREACH</a:t>
            </a:r>
          </a:p>
        </p:txBody>
      </p:sp>
      <p:sp>
        <p:nvSpPr>
          <p:cNvPr id="11" name="Footer Placeholder 1"/>
          <p:cNvSpPr txBox="1">
            <a:spLocks/>
          </p:cNvSpPr>
          <p:nvPr/>
        </p:nvSpPr>
        <p:spPr>
          <a:xfrm>
            <a:off x="4633436" y="6450296"/>
            <a:ext cx="2895600" cy="365125"/>
          </a:xfrm>
          <a:prstGeom prst="rect">
            <a:avLst/>
          </a:prstGeom>
        </p:spPr>
        <p:txBody>
          <a:bodyPr vert="horz" lIns="91250" tIns="45626" rIns="91250" bIns="45626" rtlCol="0" anchor="ctr"/>
          <a:lstStyle>
            <a:defPPr>
              <a:defRPr lang="en-US"/>
            </a:defPPr>
            <a:lvl1pPr marL="0" algn="ctr" defTabSz="907853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3916" algn="l" defTabSz="90785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07853" algn="l" defTabSz="90785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61804" algn="l" defTabSz="90785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15746" algn="l" defTabSz="90785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69709" algn="l" defTabSz="90785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23610" algn="l" defTabSz="90785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77549" algn="l" defTabSz="90785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31471" algn="l" defTabSz="90785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prstClr val="black"/>
                </a:solidFill>
              </a:rPr>
              <a:t>National Alliance to End Homelessnes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FAB73BC-B049-4115-A692-8D63A059BFB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1182447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ntegral">
  <a:themeElements>
    <a:clrScheme name="Integral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B9F25"/>
      </a:hlink>
      <a:folHlink>
        <a:srgbClr val="B26B02"/>
      </a:folHlink>
    </a:clrScheme>
    <a:fontScheme name="Integral">
      <a:majorFont>
        <a:latin typeface="Tw Cen MT Condensed" panose="020B06060201040202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Grek" typeface="Calibri"/>
        <a:font script="Cyrl" typeface="Calibri"/>
        <a:font script="Jpan" typeface="メイリオ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Integral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atMod val="100000"/>
                <a:lumMod val="100000"/>
              </a:schemeClr>
            </a:gs>
            <a:gs pos="100000">
              <a:schemeClr val="phClr">
                <a:tint val="61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tint val="100000"/>
                <a:shade val="85000"/>
                <a:satMod val="100000"/>
                <a:lumMod val="100000"/>
              </a:schemeClr>
            </a:gs>
            <a:gs pos="100000">
              <a:schemeClr val="phClr">
                <a:tint val="90000"/>
                <a:shade val="100000"/>
                <a:satMod val="150000"/>
                <a:lum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12700" dir="5400000" algn="ctr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76200" dist="25400" dir="5400000" algn="ct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contourW="12700" prstMaterial="flat">
            <a:bevelT w="38100" h="44450" prst="angle"/>
            <a:contourClr>
              <a:schemeClr val="phClr">
                <a:shade val="35000"/>
                <a:satMod val="16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85000"/>
            <a:satMod val="125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95000"/>
                <a:shade val="74000"/>
                <a:satMod val="230000"/>
              </a:schemeClr>
              <a:schemeClr val="phClr">
                <a:tint val="92000"/>
                <a:shade val="69000"/>
                <a:satMod val="250000"/>
              </a:schemeClr>
            </a:duotone>
          </a:blip>
          <a:tile tx="0" ty="0" sx="40000" sy="4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tegral" id="{3577F8C9-A904-41D8-97D2-FD898F53F20E}" vid="{682D6EBE-8D36-4FF2-9DB3-F3D8D7B6715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918</TotalTime>
  <Words>1459</Words>
  <Application>Microsoft Office PowerPoint</Application>
  <PresentationFormat>Widescreen</PresentationFormat>
  <Paragraphs>204</Paragraphs>
  <Slides>26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Arial</vt:lpstr>
      <vt:lpstr>Calibri</vt:lpstr>
      <vt:lpstr>Calibri Light</vt:lpstr>
      <vt:lpstr>Georgia</vt:lpstr>
      <vt:lpstr>Tw Cen MT</vt:lpstr>
      <vt:lpstr>Tw Cen MT Condensed</vt:lpstr>
      <vt:lpstr>Wingdings 3</vt:lpstr>
      <vt:lpstr>Integral</vt:lpstr>
      <vt:lpstr>think-cell Slide</vt:lpstr>
      <vt:lpstr>Housing First and ending homelessness</vt:lpstr>
      <vt:lpstr>Agenda</vt:lpstr>
      <vt:lpstr>Housing First Crisis Response System that Ends Homelessness</vt:lpstr>
      <vt:lpstr>Housing First (HF)</vt:lpstr>
      <vt:lpstr>Maslow’s Hierarchy of needs</vt:lpstr>
      <vt:lpstr>Housing First Practices</vt:lpstr>
      <vt:lpstr>Housing First is not</vt:lpstr>
      <vt:lpstr>HF Best Practices</vt:lpstr>
      <vt:lpstr>PowerPoint Presentation</vt:lpstr>
      <vt:lpstr>Housing First in Permanent Housing</vt:lpstr>
      <vt:lpstr>Preparation</vt:lpstr>
      <vt:lpstr>Education</vt:lpstr>
      <vt:lpstr>Motivation and Change</vt:lpstr>
      <vt:lpstr>MI andStages of Change</vt:lpstr>
      <vt:lpstr>HARM REDUCTION: Negotiating Change</vt:lpstr>
      <vt:lpstr>HARM REDUCTION</vt:lpstr>
      <vt:lpstr>Harm Reduction based on open communication</vt:lpstr>
      <vt:lpstr>Housing Perspective</vt:lpstr>
      <vt:lpstr>Using the Lease to Structure the Work:</vt:lpstr>
      <vt:lpstr>Tenant Rights</vt:lpstr>
      <vt:lpstr>Obligations of Tenancy</vt:lpstr>
      <vt:lpstr>Obligations of Tenancy</vt:lpstr>
      <vt:lpstr>Closing </vt:lpstr>
      <vt:lpstr>Additional Reading</vt:lpstr>
      <vt:lpstr>Additional Reading – cont. </vt:lpstr>
      <vt:lpstr>Additional Reading - M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nancy Rights and Responsibilities in HUD-VASH</dc:title>
  <dc:creator>Howard Burchman</dc:creator>
  <cp:lastModifiedBy>Howard Burchman</cp:lastModifiedBy>
  <cp:revision>598</cp:revision>
  <cp:lastPrinted>2017-07-21T19:01:29Z</cp:lastPrinted>
  <dcterms:created xsi:type="dcterms:W3CDTF">2013-04-24T21:53:51Z</dcterms:created>
  <dcterms:modified xsi:type="dcterms:W3CDTF">2019-04-21T14:01:24Z</dcterms:modified>
</cp:coreProperties>
</file>